
<file path=[Content_Types].xml><?xml version="1.0" encoding="utf-8"?>
<Types xmlns="http://schemas.openxmlformats.org/package/2006/content-types">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Lst>
  <p:notesMasterIdLst>
    <p:notesMasterId r:id="rId14"/>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904AF4-9551-43FA-8A9A-E252B0AF6F70}" v="2" dt="2023-11-29T12:39:47.03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959" autoAdjust="0"/>
    <p:restoredTop sz="89492" autoAdjust="0"/>
  </p:normalViewPr>
  <p:slideViewPr>
    <p:cSldViewPr snapToGrid="0">
      <p:cViewPr varScale="1">
        <p:scale>
          <a:sx n="85" d="100"/>
          <a:sy n="85" d="100"/>
        </p:scale>
        <p:origin x="365"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faa Al-Qaysi" userId="878c7f2f8b0b0a6a" providerId="LiveId" clId="{2C904AF4-9551-43FA-8A9A-E252B0AF6F70}"/>
    <pc:docChg chg="custSel modSld">
      <pc:chgData name="Safaa Al-Qaysi" userId="878c7f2f8b0b0a6a" providerId="LiveId" clId="{2C904AF4-9551-43FA-8A9A-E252B0AF6F70}" dt="2023-11-29T12:35:49.935" v="1" actId="1076"/>
      <pc:docMkLst>
        <pc:docMk/>
      </pc:docMkLst>
      <pc:sldChg chg="addSp modSp mod setBg">
        <pc:chgData name="Safaa Al-Qaysi" userId="878c7f2f8b0b0a6a" providerId="LiveId" clId="{2C904AF4-9551-43FA-8A9A-E252B0AF6F70}" dt="2023-11-29T12:35:49.935" v="1" actId="1076"/>
        <pc:sldMkLst>
          <pc:docMk/>
          <pc:sldMk cId="2766185198" sldId="256"/>
        </pc:sldMkLst>
        <pc:spChg chg="mod">
          <ac:chgData name="Safaa Al-Qaysi" userId="878c7f2f8b0b0a6a" providerId="LiveId" clId="{2C904AF4-9551-43FA-8A9A-E252B0AF6F70}" dt="2023-11-29T12:35:49.935" v="1" actId="1076"/>
          <ac:spMkLst>
            <pc:docMk/>
            <pc:sldMk cId="2766185198" sldId="256"/>
            <ac:spMk id="2" creationId="{2E115927-6821-4975-AF26-17BD10AA044E}"/>
          </ac:spMkLst>
        </pc:spChg>
        <pc:spChg chg="add">
          <ac:chgData name="Safaa Al-Qaysi" userId="878c7f2f8b0b0a6a" providerId="LiveId" clId="{2C904AF4-9551-43FA-8A9A-E252B0AF6F70}" dt="2023-11-29T12:35:42.280" v="0" actId="26606"/>
          <ac:spMkLst>
            <pc:docMk/>
            <pc:sldMk cId="2766185198" sldId="256"/>
            <ac:spMk id="9" creationId="{A3363022-C969-41E9-8EB2-E4C94908C1FA}"/>
          </ac:spMkLst>
        </pc:spChg>
        <pc:spChg chg="add">
          <ac:chgData name="Safaa Al-Qaysi" userId="878c7f2f8b0b0a6a" providerId="LiveId" clId="{2C904AF4-9551-43FA-8A9A-E252B0AF6F70}" dt="2023-11-29T12:35:42.280" v="0" actId="26606"/>
          <ac:spMkLst>
            <pc:docMk/>
            <pc:sldMk cId="2766185198" sldId="256"/>
            <ac:spMk id="11" creationId="{8D1AD6B3-BE88-4CEB-BA17-790657CC4729}"/>
          </ac:spMkLst>
        </pc:spChg>
        <pc:grpChg chg="add">
          <ac:chgData name="Safaa Al-Qaysi" userId="878c7f2f8b0b0a6a" providerId="LiveId" clId="{2C904AF4-9551-43FA-8A9A-E252B0AF6F70}" dt="2023-11-29T12:35:42.280" v="0" actId="26606"/>
          <ac:grpSpMkLst>
            <pc:docMk/>
            <pc:sldMk cId="2766185198" sldId="256"/>
            <ac:grpSpMk id="13" creationId="{89D1390B-7E13-4B4F-9CB2-391063412E54}"/>
          </ac:grpSpMkLst>
        </pc:grpChg>
        <pc:picChg chg="add">
          <ac:chgData name="Safaa Al-Qaysi" userId="878c7f2f8b0b0a6a" providerId="LiveId" clId="{2C904AF4-9551-43FA-8A9A-E252B0AF6F70}" dt="2023-11-29T12:35:42.280" v="0" actId="26606"/>
          <ac:picMkLst>
            <pc:docMk/>
            <pc:sldMk cId="2766185198" sldId="256"/>
            <ac:picMk id="6" creationId="{1D09666D-10E6-7F2E-F7D1-F4331A322691}"/>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29D96D-C5B0-47CB-9ADB-8D5F70F1B5E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3A1ADE3F-6AE4-4226-A2A3-DE15283DC8D3}">
      <dgm:prSet phldrT="[Text]"/>
      <dgm:spPr/>
      <dgm:t>
        <a:bodyPr/>
        <a:lstStyle/>
        <a:p>
          <a:r>
            <a:rPr lang="en-US" dirty="0"/>
            <a:t>File Server</a:t>
          </a:r>
        </a:p>
      </dgm:t>
    </dgm:pt>
    <dgm:pt modelId="{127D5C9D-161E-459B-8647-4815B713E645}" type="parTrans" cxnId="{61B255BB-67A1-4B77-BB0B-3118C78356EE}">
      <dgm:prSet/>
      <dgm:spPr/>
      <dgm:t>
        <a:bodyPr/>
        <a:lstStyle/>
        <a:p>
          <a:endParaRPr lang="en-US"/>
        </a:p>
      </dgm:t>
    </dgm:pt>
    <dgm:pt modelId="{1AD0CDA4-4764-4B6A-86E5-065C4769E1E9}" type="sibTrans" cxnId="{61B255BB-67A1-4B77-BB0B-3118C78356EE}">
      <dgm:prSet/>
      <dgm:spPr/>
      <dgm:t>
        <a:bodyPr/>
        <a:lstStyle/>
        <a:p>
          <a:endParaRPr lang="en-US"/>
        </a:p>
      </dgm:t>
    </dgm:pt>
    <dgm:pt modelId="{184ACC56-F94E-4B6C-AD8F-B862C05EF544}">
      <dgm:prSet phldrT="[Text]"/>
      <dgm:spPr/>
      <dgm:t>
        <a:bodyPr/>
        <a:lstStyle/>
        <a:p>
          <a:pPr algn="l"/>
          <a:r>
            <a:rPr lang="en-US" b="0" i="0" dirty="0"/>
            <a:t>Users can access their work from any workstation</a:t>
          </a:r>
          <a:endParaRPr lang="en-US" dirty="0"/>
        </a:p>
      </dgm:t>
    </dgm:pt>
    <dgm:pt modelId="{6F31F58C-7286-430C-A814-4F37789E39D1}" type="parTrans" cxnId="{0B7242DD-4A8E-4496-9145-9430C620DF5B}">
      <dgm:prSet/>
      <dgm:spPr/>
      <dgm:t>
        <a:bodyPr/>
        <a:lstStyle/>
        <a:p>
          <a:endParaRPr lang="en-US"/>
        </a:p>
      </dgm:t>
    </dgm:pt>
    <dgm:pt modelId="{2B3E4DA7-6DA8-4DE1-B871-CCB6EBD3655E}" type="sibTrans" cxnId="{0B7242DD-4A8E-4496-9145-9430C620DF5B}">
      <dgm:prSet/>
      <dgm:spPr/>
      <dgm:t>
        <a:bodyPr/>
        <a:lstStyle/>
        <a:p>
          <a:endParaRPr lang="en-US"/>
        </a:p>
      </dgm:t>
    </dgm:pt>
    <dgm:pt modelId="{426C962B-8B14-40F3-89B4-38FCBF5D65DC}">
      <dgm:prSet phldrT="[Text]"/>
      <dgm:spPr/>
      <dgm:t>
        <a:bodyPr/>
        <a:lstStyle/>
        <a:p>
          <a:r>
            <a:rPr lang="en-US" dirty="0"/>
            <a:t>Print Server</a:t>
          </a:r>
        </a:p>
      </dgm:t>
    </dgm:pt>
    <dgm:pt modelId="{AB82AD76-8B71-47DC-B8A6-80751CE506B5}" type="parTrans" cxnId="{A6F3E0CF-349A-4CF1-98EF-D750DE057E43}">
      <dgm:prSet/>
      <dgm:spPr/>
      <dgm:t>
        <a:bodyPr/>
        <a:lstStyle/>
        <a:p>
          <a:endParaRPr lang="en-US"/>
        </a:p>
      </dgm:t>
    </dgm:pt>
    <dgm:pt modelId="{02A2ECDE-6E3E-4A95-9052-59EC2D020034}" type="sibTrans" cxnId="{A6F3E0CF-349A-4CF1-98EF-D750DE057E43}">
      <dgm:prSet/>
      <dgm:spPr/>
      <dgm:t>
        <a:bodyPr/>
        <a:lstStyle/>
        <a:p>
          <a:endParaRPr lang="en-US"/>
        </a:p>
      </dgm:t>
    </dgm:pt>
    <dgm:pt modelId="{4B5832BF-60B4-4E2C-99AC-BFD6D4B10515}">
      <dgm:prSet phldrT="[Text]"/>
      <dgm:spPr/>
      <dgm:t>
        <a:bodyPr/>
        <a:lstStyle/>
        <a:p>
          <a:r>
            <a:rPr lang="en-US" b="0" i="0" dirty="0"/>
            <a:t>Printers only need be purchased for the print servers. This results in financial savings.</a:t>
          </a:r>
          <a:br>
            <a:rPr lang="en-US" b="0" i="0" dirty="0"/>
          </a:br>
          <a:r>
            <a:rPr lang="en-US" b="0" i="0" dirty="0"/>
            <a:t>• As there are fewer printers to look after, there is lower maintenance.</a:t>
          </a:r>
          <a:br>
            <a:rPr lang="en-US" b="0" i="0" dirty="0"/>
          </a:br>
          <a:r>
            <a:rPr lang="en-US" b="0" i="0" dirty="0"/>
            <a:t>• As far fewer printers need to be purchased better quality printers with advanced features can</a:t>
          </a:r>
          <a:br>
            <a:rPr lang="en-US" b="0" i="0" dirty="0"/>
          </a:br>
          <a:r>
            <a:rPr lang="en-US" b="0" i="0" dirty="0"/>
            <a:t>be purchased.</a:t>
          </a:r>
          <a:endParaRPr lang="en-US" dirty="0"/>
        </a:p>
      </dgm:t>
    </dgm:pt>
    <dgm:pt modelId="{B1F91C21-706F-4D80-B594-7FA83B4C0C67}" type="parTrans" cxnId="{6D39C367-9C02-4ED5-BA50-4601E0E2B214}">
      <dgm:prSet/>
      <dgm:spPr/>
      <dgm:t>
        <a:bodyPr/>
        <a:lstStyle/>
        <a:p>
          <a:endParaRPr lang="en-US"/>
        </a:p>
      </dgm:t>
    </dgm:pt>
    <dgm:pt modelId="{12D9AF33-306C-4112-8FE0-6B6342067C15}" type="sibTrans" cxnId="{6D39C367-9C02-4ED5-BA50-4601E0E2B214}">
      <dgm:prSet/>
      <dgm:spPr/>
      <dgm:t>
        <a:bodyPr/>
        <a:lstStyle/>
        <a:p>
          <a:endParaRPr lang="en-US"/>
        </a:p>
      </dgm:t>
    </dgm:pt>
    <dgm:pt modelId="{EDB08E14-A161-4258-A799-68F24D435783}">
      <dgm:prSet phldrT="[Text]"/>
      <dgm:spPr/>
      <dgm:t>
        <a:bodyPr/>
        <a:lstStyle/>
        <a:p>
          <a:r>
            <a:rPr lang="en-US" dirty="0"/>
            <a:t>Application Server</a:t>
          </a:r>
        </a:p>
      </dgm:t>
    </dgm:pt>
    <dgm:pt modelId="{4DD43CE9-4C52-438F-A0F5-ACA6CD665ACC}" type="parTrans" cxnId="{FF724421-5141-437D-AC9C-1383B1C9E91B}">
      <dgm:prSet/>
      <dgm:spPr/>
      <dgm:t>
        <a:bodyPr/>
        <a:lstStyle/>
        <a:p>
          <a:endParaRPr lang="en-US"/>
        </a:p>
      </dgm:t>
    </dgm:pt>
    <dgm:pt modelId="{9C1A5748-78AE-4139-AC44-2FA75B113B57}" type="sibTrans" cxnId="{FF724421-5141-437D-AC9C-1383B1C9E91B}">
      <dgm:prSet/>
      <dgm:spPr/>
      <dgm:t>
        <a:bodyPr/>
        <a:lstStyle/>
        <a:p>
          <a:endParaRPr lang="en-US"/>
        </a:p>
      </dgm:t>
    </dgm:pt>
    <dgm:pt modelId="{E99D571C-D9DD-47BD-8A04-032E0EFFDB79}">
      <dgm:prSet phldrT="[Text]"/>
      <dgm:spPr/>
      <dgm:t>
        <a:bodyPr/>
        <a:lstStyle/>
        <a:p>
          <a:r>
            <a:rPr lang="en-US" b="0" i="0" dirty="0"/>
            <a:t>Software only needs to be installed on the applications server instead of each workstation.</a:t>
          </a:r>
          <a:endParaRPr lang="en-US" dirty="0"/>
        </a:p>
      </dgm:t>
    </dgm:pt>
    <dgm:pt modelId="{2E6EC7A0-A9CC-446B-9497-9339E96E7CE3}" type="parTrans" cxnId="{C634EB2C-0A71-4328-B3EC-D079E4BE07AE}">
      <dgm:prSet/>
      <dgm:spPr/>
      <dgm:t>
        <a:bodyPr/>
        <a:lstStyle/>
        <a:p>
          <a:endParaRPr lang="en-US"/>
        </a:p>
      </dgm:t>
    </dgm:pt>
    <dgm:pt modelId="{0E8FF72D-306D-4925-9B43-EA51154447B9}" type="sibTrans" cxnId="{C634EB2C-0A71-4328-B3EC-D079E4BE07AE}">
      <dgm:prSet/>
      <dgm:spPr/>
      <dgm:t>
        <a:bodyPr/>
        <a:lstStyle/>
        <a:p>
          <a:endParaRPr lang="en-US"/>
        </a:p>
      </dgm:t>
    </dgm:pt>
    <dgm:pt modelId="{95CA6FE9-8B53-4D95-84B2-5E38059CF952}">
      <dgm:prSet phldrT="[Text]"/>
      <dgm:spPr/>
      <dgm:t>
        <a:bodyPr/>
        <a:lstStyle/>
        <a:p>
          <a:pPr algn="l"/>
          <a:r>
            <a:rPr lang="en-US" b="0" i="0" dirty="0"/>
            <a:t>Exchange work with colleagues.</a:t>
          </a:r>
          <a:endParaRPr lang="en-US" dirty="0"/>
        </a:p>
      </dgm:t>
    </dgm:pt>
    <dgm:pt modelId="{04F8EA0A-8D1F-4D3E-8A3D-5A4EABA4D2FA}" type="parTrans" cxnId="{D60CE65A-57D9-4753-8453-A470CC9D62E8}">
      <dgm:prSet/>
      <dgm:spPr/>
      <dgm:t>
        <a:bodyPr/>
        <a:lstStyle/>
        <a:p>
          <a:endParaRPr lang="en-US"/>
        </a:p>
      </dgm:t>
    </dgm:pt>
    <dgm:pt modelId="{4AD7285D-8641-4A35-9E8B-DDF3AC453E5C}" type="sibTrans" cxnId="{D60CE65A-57D9-4753-8453-A470CC9D62E8}">
      <dgm:prSet/>
      <dgm:spPr/>
      <dgm:t>
        <a:bodyPr/>
        <a:lstStyle/>
        <a:p>
          <a:endParaRPr lang="en-US"/>
        </a:p>
      </dgm:t>
    </dgm:pt>
    <dgm:pt modelId="{F22D09AC-FC5B-49DE-8142-74821AC18C31}">
      <dgm:prSet phldrT="[Text]"/>
      <dgm:spPr/>
      <dgm:t>
        <a:bodyPr/>
        <a:lstStyle/>
        <a:p>
          <a:pPr algn="l"/>
          <a:r>
            <a:rPr lang="en-US" b="0" i="0" dirty="0"/>
            <a:t>Users can easily co-operate on tasks.</a:t>
          </a:r>
          <a:endParaRPr lang="en-US" dirty="0"/>
        </a:p>
      </dgm:t>
    </dgm:pt>
    <dgm:pt modelId="{A7835E78-2CCB-4E61-89E8-84A9180375E6}" type="parTrans" cxnId="{3CAB5D21-5633-4FE8-B71E-F0B7788C895D}">
      <dgm:prSet/>
      <dgm:spPr/>
      <dgm:t>
        <a:bodyPr/>
        <a:lstStyle/>
        <a:p>
          <a:endParaRPr lang="en-US"/>
        </a:p>
      </dgm:t>
    </dgm:pt>
    <dgm:pt modelId="{7E69E290-451C-485F-B62D-9FBCF1087E87}" type="sibTrans" cxnId="{3CAB5D21-5633-4FE8-B71E-F0B7788C895D}">
      <dgm:prSet/>
      <dgm:spPr/>
      <dgm:t>
        <a:bodyPr/>
        <a:lstStyle/>
        <a:p>
          <a:endParaRPr lang="en-US"/>
        </a:p>
      </dgm:t>
    </dgm:pt>
    <dgm:pt modelId="{98786F46-77C1-40BA-A4FA-E4D11B0CC42B}">
      <dgm:prSet phldrT="[Text]"/>
      <dgm:spPr/>
      <dgm:t>
        <a:bodyPr/>
        <a:lstStyle/>
        <a:p>
          <a:pPr algn="l"/>
          <a:r>
            <a:rPr lang="en-US" b="0" i="0" dirty="0"/>
            <a:t>Backing up is centralized and can be placed under the control of experts</a:t>
          </a:r>
          <a:endParaRPr lang="en-US" dirty="0"/>
        </a:p>
      </dgm:t>
    </dgm:pt>
    <dgm:pt modelId="{DCF188FB-93E4-4E22-931A-BF0BD86A3B72}" type="parTrans" cxnId="{50FFF668-8BD7-4002-89D5-0974D88D527A}">
      <dgm:prSet/>
      <dgm:spPr/>
      <dgm:t>
        <a:bodyPr/>
        <a:lstStyle/>
        <a:p>
          <a:endParaRPr lang="en-US"/>
        </a:p>
      </dgm:t>
    </dgm:pt>
    <dgm:pt modelId="{F51640C2-54F7-4BB8-BBB2-5B56F92C45F7}" type="sibTrans" cxnId="{50FFF668-8BD7-4002-89D5-0974D88D527A}">
      <dgm:prSet/>
      <dgm:spPr/>
      <dgm:t>
        <a:bodyPr/>
        <a:lstStyle/>
        <a:p>
          <a:endParaRPr lang="en-US"/>
        </a:p>
      </dgm:t>
    </dgm:pt>
    <dgm:pt modelId="{A518CB49-DD99-42B4-A7FE-82D48AEE84C7}">
      <dgm:prSet phldrT="[Text]"/>
      <dgm:spPr/>
      <dgm:t>
        <a:bodyPr/>
        <a:lstStyle/>
        <a:p>
          <a:r>
            <a:rPr lang="en-US" b="0" i="0" dirty="0"/>
            <a:t>Software is configured in the same way for all.</a:t>
          </a:r>
          <a:endParaRPr lang="en-US" dirty="0"/>
        </a:p>
      </dgm:t>
    </dgm:pt>
    <dgm:pt modelId="{74394916-A4F6-48C2-A108-CB1B1D9BCDD4}" type="parTrans" cxnId="{A3CDEF19-6A08-4169-B47B-764D00D856C5}">
      <dgm:prSet/>
      <dgm:spPr/>
      <dgm:t>
        <a:bodyPr/>
        <a:lstStyle/>
        <a:p>
          <a:endParaRPr lang="en-US"/>
        </a:p>
      </dgm:t>
    </dgm:pt>
    <dgm:pt modelId="{AEA9807F-F7F6-44B2-90EB-969B9CC3282B}" type="sibTrans" cxnId="{A3CDEF19-6A08-4169-B47B-764D00D856C5}">
      <dgm:prSet/>
      <dgm:spPr/>
      <dgm:t>
        <a:bodyPr/>
        <a:lstStyle/>
        <a:p>
          <a:endParaRPr lang="en-US"/>
        </a:p>
      </dgm:t>
    </dgm:pt>
    <dgm:pt modelId="{97AB9A54-05F6-46EA-8D92-01934F888988}">
      <dgm:prSet phldrT="[Text]"/>
      <dgm:spPr/>
      <dgm:t>
        <a:bodyPr/>
        <a:lstStyle/>
        <a:p>
          <a:r>
            <a:rPr lang="en-US" b="0" i="0" dirty="0"/>
            <a:t>Upgrading only needs to be done on the server.</a:t>
          </a:r>
          <a:endParaRPr lang="en-US" dirty="0"/>
        </a:p>
      </dgm:t>
    </dgm:pt>
    <dgm:pt modelId="{D3F0A300-DB7E-4888-B526-F2530018FE03}" type="parTrans" cxnId="{FE89AFF7-C7F9-4AAC-9BFA-857E141F4951}">
      <dgm:prSet/>
      <dgm:spPr/>
      <dgm:t>
        <a:bodyPr/>
        <a:lstStyle/>
        <a:p>
          <a:endParaRPr lang="en-US"/>
        </a:p>
      </dgm:t>
    </dgm:pt>
    <dgm:pt modelId="{027D9DDB-70F4-4281-839B-79C375DF6042}" type="sibTrans" cxnId="{FE89AFF7-C7F9-4AAC-9BFA-857E141F4951}">
      <dgm:prSet/>
      <dgm:spPr/>
      <dgm:t>
        <a:bodyPr/>
        <a:lstStyle/>
        <a:p>
          <a:endParaRPr lang="en-US"/>
        </a:p>
      </dgm:t>
    </dgm:pt>
    <dgm:pt modelId="{4B35C7D4-4EDA-445F-9323-D51B6E646388}">
      <dgm:prSet phldrT="[Text]"/>
      <dgm:spPr/>
      <dgm:t>
        <a:bodyPr/>
        <a:lstStyle/>
        <a:p>
          <a:r>
            <a:rPr lang="en-US" b="0" i="0" dirty="0"/>
            <a:t>Cost of licensing software for an applications server is less</a:t>
          </a:r>
          <a:endParaRPr lang="en-US" dirty="0"/>
        </a:p>
      </dgm:t>
    </dgm:pt>
    <dgm:pt modelId="{73E79D41-30CE-49AF-A632-53E5D9D9C970}" type="parTrans" cxnId="{23C6C1F6-B84C-4009-AB06-849F80970883}">
      <dgm:prSet/>
      <dgm:spPr/>
      <dgm:t>
        <a:bodyPr/>
        <a:lstStyle/>
        <a:p>
          <a:endParaRPr lang="en-US"/>
        </a:p>
      </dgm:t>
    </dgm:pt>
    <dgm:pt modelId="{BA5F7B01-5843-48C9-B326-5B2F48EE4F32}" type="sibTrans" cxnId="{23C6C1F6-B84C-4009-AB06-849F80970883}">
      <dgm:prSet/>
      <dgm:spPr/>
      <dgm:t>
        <a:bodyPr/>
        <a:lstStyle/>
        <a:p>
          <a:endParaRPr lang="en-US"/>
        </a:p>
      </dgm:t>
    </dgm:pt>
    <dgm:pt modelId="{95143E43-3F82-45ED-A628-08461DE7C632}">
      <dgm:prSet phldrT="[Text]"/>
      <dgm:spPr/>
      <dgm:t>
        <a:bodyPr/>
        <a:lstStyle/>
        <a:p>
          <a:r>
            <a:rPr lang="en-US" b="0" i="0" dirty="0"/>
            <a:t>Centralizing simplifies the process of implementing policies. Software policies refer to what software may be installed on computers</a:t>
          </a:r>
          <a:endParaRPr lang="en-US" dirty="0"/>
        </a:p>
      </dgm:t>
    </dgm:pt>
    <dgm:pt modelId="{F8D3B3CD-9703-4E35-8526-731A46E4366D}" type="parTrans" cxnId="{7894DC4C-410A-4954-997E-EE5BC5AEE6A3}">
      <dgm:prSet/>
      <dgm:spPr/>
      <dgm:t>
        <a:bodyPr/>
        <a:lstStyle/>
        <a:p>
          <a:endParaRPr lang="en-US"/>
        </a:p>
      </dgm:t>
    </dgm:pt>
    <dgm:pt modelId="{C7F02478-E5F9-4884-85FC-5EF2752470B3}" type="sibTrans" cxnId="{7894DC4C-410A-4954-997E-EE5BC5AEE6A3}">
      <dgm:prSet/>
      <dgm:spPr/>
      <dgm:t>
        <a:bodyPr/>
        <a:lstStyle/>
        <a:p>
          <a:endParaRPr lang="en-US"/>
        </a:p>
      </dgm:t>
    </dgm:pt>
    <dgm:pt modelId="{14983D7E-490E-48BA-8693-1700F8D0B18F}">
      <dgm:prSet phldrT="[Text]"/>
      <dgm:spPr/>
      <dgm:t>
        <a:bodyPr/>
        <a:lstStyle/>
        <a:p>
          <a:r>
            <a:rPr lang="en-US" dirty="0"/>
            <a:t>Proxy Server</a:t>
          </a:r>
        </a:p>
      </dgm:t>
    </dgm:pt>
    <dgm:pt modelId="{9D963BC1-E3AC-4A01-AAA2-A654C4790F1A}" type="parTrans" cxnId="{C227B970-3DB2-4FD2-AB33-4CC374F21690}">
      <dgm:prSet/>
      <dgm:spPr/>
      <dgm:t>
        <a:bodyPr/>
        <a:lstStyle/>
        <a:p>
          <a:endParaRPr lang="en-US"/>
        </a:p>
      </dgm:t>
    </dgm:pt>
    <dgm:pt modelId="{A2365301-77C4-43D1-9335-7A08C4633C64}" type="sibTrans" cxnId="{C227B970-3DB2-4FD2-AB33-4CC374F21690}">
      <dgm:prSet/>
      <dgm:spPr/>
      <dgm:t>
        <a:bodyPr/>
        <a:lstStyle/>
        <a:p>
          <a:endParaRPr lang="en-US"/>
        </a:p>
      </dgm:t>
    </dgm:pt>
    <dgm:pt modelId="{9009CEFD-9C0B-40E8-ABAF-6BEE1888AD85}">
      <dgm:prSet phldrT="[Text]"/>
      <dgm:spPr/>
      <dgm:t>
        <a:bodyPr/>
        <a:lstStyle/>
        <a:p>
          <a:r>
            <a:rPr lang="en-US" b="0" i="0" dirty="0"/>
            <a:t>can be configured with </a:t>
          </a:r>
          <a:r>
            <a:rPr lang="en-US" b="1" i="0" dirty="0"/>
            <a:t>firewall </a:t>
          </a:r>
          <a:r>
            <a:rPr lang="en-US" b="0" i="0" dirty="0"/>
            <a:t>software. To protect network from</a:t>
          </a:r>
          <a:br>
            <a:rPr lang="en-US" b="0" i="0" dirty="0"/>
          </a:br>
          <a:r>
            <a:rPr lang="en-US" b="0" i="0" dirty="0"/>
            <a:t>attack.</a:t>
          </a:r>
          <a:endParaRPr lang="en-US" dirty="0"/>
        </a:p>
      </dgm:t>
    </dgm:pt>
    <dgm:pt modelId="{D1E817A3-0055-4D37-839D-FB3E314E2E44}" type="parTrans" cxnId="{59A36683-DC43-4A57-8C13-87F875474C3B}">
      <dgm:prSet/>
      <dgm:spPr/>
      <dgm:t>
        <a:bodyPr/>
        <a:lstStyle/>
        <a:p>
          <a:endParaRPr lang="en-US"/>
        </a:p>
      </dgm:t>
    </dgm:pt>
    <dgm:pt modelId="{447627E8-A574-475F-A181-64DA0B4D7450}" type="sibTrans" cxnId="{59A36683-DC43-4A57-8C13-87F875474C3B}">
      <dgm:prSet/>
      <dgm:spPr/>
      <dgm:t>
        <a:bodyPr/>
        <a:lstStyle/>
        <a:p>
          <a:endParaRPr lang="en-US"/>
        </a:p>
      </dgm:t>
    </dgm:pt>
    <dgm:pt modelId="{A95E6924-CDB6-4CE9-836C-E813E33553C7}">
      <dgm:prSet phldrT="[Text]"/>
      <dgm:spPr/>
      <dgm:t>
        <a:bodyPr/>
        <a:lstStyle/>
        <a:p>
          <a:r>
            <a:rPr lang="en-US" b="0" i="0" dirty="0"/>
            <a:t>Files can be filtered for computer viruses before being passed on to the network</a:t>
          </a:r>
          <a:endParaRPr lang="en-US" dirty="0"/>
        </a:p>
      </dgm:t>
    </dgm:pt>
    <dgm:pt modelId="{E4198B8A-E648-404C-BD7B-02D4A615D4AE}" type="parTrans" cxnId="{4AA58349-2A30-4A1C-A91D-416AC565ECE2}">
      <dgm:prSet/>
      <dgm:spPr/>
      <dgm:t>
        <a:bodyPr/>
        <a:lstStyle/>
        <a:p>
          <a:endParaRPr lang="en-US"/>
        </a:p>
      </dgm:t>
    </dgm:pt>
    <dgm:pt modelId="{DE64D511-9088-4776-91EB-ACB17CE4BA85}" type="sibTrans" cxnId="{4AA58349-2A30-4A1C-A91D-416AC565ECE2}">
      <dgm:prSet/>
      <dgm:spPr/>
      <dgm:t>
        <a:bodyPr/>
        <a:lstStyle/>
        <a:p>
          <a:endParaRPr lang="en-US"/>
        </a:p>
      </dgm:t>
    </dgm:pt>
    <dgm:pt modelId="{AE8F7FBA-846C-4B45-A027-217D3E8F1B9C}">
      <dgm:prSet phldrT="[Text]"/>
      <dgm:spPr/>
      <dgm:t>
        <a:bodyPr/>
        <a:lstStyle/>
        <a:p>
          <a:r>
            <a:rPr lang="en-US" b="0" i="0" dirty="0"/>
            <a:t>Organizations can control access of users to outside sites.</a:t>
          </a:r>
          <a:endParaRPr lang="en-US" dirty="0"/>
        </a:p>
      </dgm:t>
    </dgm:pt>
    <dgm:pt modelId="{C846E683-F112-499C-A228-C196843B8F53}" type="parTrans" cxnId="{05D34E81-4BC6-4540-93EE-4CDC76D84F27}">
      <dgm:prSet/>
      <dgm:spPr/>
      <dgm:t>
        <a:bodyPr/>
        <a:lstStyle/>
        <a:p>
          <a:endParaRPr lang="en-US"/>
        </a:p>
      </dgm:t>
    </dgm:pt>
    <dgm:pt modelId="{236C3254-BD25-4359-A737-DA3486B29E2F}" type="sibTrans" cxnId="{05D34E81-4BC6-4540-93EE-4CDC76D84F27}">
      <dgm:prSet/>
      <dgm:spPr/>
      <dgm:t>
        <a:bodyPr/>
        <a:lstStyle/>
        <a:p>
          <a:endParaRPr lang="en-US"/>
        </a:p>
      </dgm:t>
    </dgm:pt>
    <dgm:pt modelId="{DF7F9B89-9B08-48EE-90A5-B79EE2CF42DF}">
      <dgm:prSet phldrT="[Text]"/>
      <dgm:spPr/>
      <dgm:t>
        <a:bodyPr/>
        <a:lstStyle/>
        <a:p>
          <a:r>
            <a:rPr lang="en-US" b="0" i="0" dirty="0"/>
            <a:t>Since there is only one point of communication, there is a large saving on line costs.</a:t>
          </a:r>
          <a:br>
            <a:rPr lang="en-US" dirty="0"/>
          </a:br>
          <a:br>
            <a:rPr lang="en-US" dirty="0"/>
          </a:br>
          <a:endParaRPr lang="en-US" dirty="0"/>
        </a:p>
      </dgm:t>
    </dgm:pt>
    <dgm:pt modelId="{44D611F9-A442-4755-B8AC-5CDA24EA26CC}" type="parTrans" cxnId="{1B0F4BEF-3C10-4FC1-8A52-7BCAB84BCC84}">
      <dgm:prSet/>
      <dgm:spPr/>
      <dgm:t>
        <a:bodyPr/>
        <a:lstStyle/>
        <a:p>
          <a:endParaRPr lang="en-US"/>
        </a:p>
      </dgm:t>
    </dgm:pt>
    <dgm:pt modelId="{B6B0BD9C-C468-4B2D-A3C0-744461D6BE04}" type="sibTrans" cxnId="{1B0F4BEF-3C10-4FC1-8A52-7BCAB84BCC84}">
      <dgm:prSet/>
      <dgm:spPr/>
      <dgm:t>
        <a:bodyPr/>
        <a:lstStyle/>
        <a:p>
          <a:endParaRPr lang="en-US"/>
        </a:p>
      </dgm:t>
    </dgm:pt>
    <dgm:pt modelId="{5916D303-A936-451F-8322-85035E99F11B}" type="pres">
      <dgm:prSet presAssocID="{9529D96D-C5B0-47CB-9ADB-8D5F70F1B5E0}" presName="Name0" presStyleCnt="0">
        <dgm:presLayoutVars>
          <dgm:dir/>
          <dgm:animLvl val="lvl"/>
          <dgm:resizeHandles val="exact"/>
        </dgm:presLayoutVars>
      </dgm:prSet>
      <dgm:spPr/>
    </dgm:pt>
    <dgm:pt modelId="{EB55AFF4-A628-4BCF-8202-99163B66D3E2}" type="pres">
      <dgm:prSet presAssocID="{3A1ADE3F-6AE4-4226-A2A3-DE15283DC8D3}" presName="composite" presStyleCnt="0"/>
      <dgm:spPr/>
    </dgm:pt>
    <dgm:pt modelId="{40495F20-6E79-4B24-B28A-CE13354A7FFF}" type="pres">
      <dgm:prSet presAssocID="{3A1ADE3F-6AE4-4226-A2A3-DE15283DC8D3}" presName="parTx" presStyleLbl="alignNode1" presStyleIdx="0" presStyleCnt="4">
        <dgm:presLayoutVars>
          <dgm:chMax val="0"/>
          <dgm:chPref val="0"/>
          <dgm:bulletEnabled val="1"/>
        </dgm:presLayoutVars>
      </dgm:prSet>
      <dgm:spPr/>
    </dgm:pt>
    <dgm:pt modelId="{EF79040D-744E-49A2-928E-70CCB667CD39}" type="pres">
      <dgm:prSet presAssocID="{3A1ADE3F-6AE4-4226-A2A3-DE15283DC8D3}" presName="desTx" presStyleLbl="alignAccFollowNode1" presStyleIdx="0" presStyleCnt="4">
        <dgm:presLayoutVars>
          <dgm:bulletEnabled val="1"/>
        </dgm:presLayoutVars>
      </dgm:prSet>
      <dgm:spPr/>
    </dgm:pt>
    <dgm:pt modelId="{1A33C007-43B6-4EFB-87AA-0164E03B4844}" type="pres">
      <dgm:prSet presAssocID="{1AD0CDA4-4764-4B6A-86E5-065C4769E1E9}" presName="space" presStyleCnt="0"/>
      <dgm:spPr/>
    </dgm:pt>
    <dgm:pt modelId="{61FDAD99-677E-4076-8CAF-37B5387E90CC}" type="pres">
      <dgm:prSet presAssocID="{426C962B-8B14-40F3-89B4-38FCBF5D65DC}" presName="composite" presStyleCnt="0"/>
      <dgm:spPr/>
    </dgm:pt>
    <dgm:pt modelId="{36684A3D-D11C-450A-BD38-52C373E0C37D}" type="pres">
      <dgm:prSet presAssocID="{426C962B-8B14-40F3-89B4-38FCBF5D65DC}" presName="parTx" presStyleLbl="alignNode1" presStyleIdx="1" presStyleCnt="4">
        <dgm:presLayoutVars>
          <dgm:chMax val="0"/>
          <dgm:chPref val="0"/>
          <dgm:bulletEnabled val="1"/>
        </dgm:presLayoutVars>
      </dgm:prSet>
      <dgm:spPr/>
    </dgm:pt>
    <dgm:pt modelId="{8FB4F2AD-83B5-4CCA-B1E3-259723B47999}" type="pres">
      <dgm:prSet presAssocID="{426C962B-8B14-40F3-89B4-38FCBF5D65DC}" presName="desTx" presStyleLbl="alignAccFollowNode1" presStyleIdx="1" presStyleCnt="4">
        <dgm:presLayoutVars>
          <dgm:bulletEnabled val="1"/>
        </dgm:presLayoutVars>
      </dgm:prSet>
      <dgm:spPr/>
    </dgm:pt>
    <dgm:pt modelId="{2847F3B1-A599-4A42-BF40-05CB86212049}" type="pres">
      <dgm:prSet presAssocID="{02A2ECDE-6E3E-4A95-9052-59EC2D020034}" presName="space" presStyleCnt="0"/>
      <dgm:spPr/>
    </dgm:pt>
    <dgm:pt modelId="{20F1D0D9-A8D2-46CD-8BFE-0B8489D14840}" type="pres">
      <dgm:prSet presAssocID="{EDB08E14-A161-4258-A799-68F24D435783}" presName="composite" presStyleCnt="0"/>
      <dgm:spPr/>
    </dgm:pt>
    <dgm:pt modelId="{876DB11E-6969-44AB-B915-A43928B739C9}" type="pres">
      <dgm:prSet presAssocID="{EDB08E14-A161-4258-A799-68F24D435783}" presName="parTx" presStyleLbl="alignNode1" presStyleIdx="2" presStyleCnt="4">
        <dgm:presLayoutVars>
          <dgm:chMax val="0"/>
          <dgm:chPref val="0"/>
          <dgm:bulletEnabled val="1"/>
        </dgm:presLayoutVars>
      </dgm:prSet>
      <dgm:spPr/>
    </dgm:pt>
    <dgm:pt modelId="{B7479E8C-C30A-4AA2-9866-9A2DDC5DCDEA}" type="pres">
      <dgm:prSet presAssocID="{EDB08E14-A161-4258-A799-68F24D435783}" presName="desTx" presStyleLbl="alignAccFollowNode1" presStyleIdx="2" presStyleCnt="4">
        <dgm:presLayoutVars>
          <dgm:bulletEnabled val="1"/>
        </dgm:presLayoutVars>
      </dgm:prSet>
      <dgm:spPr/>
    </dgm:pt>
    <dgm:pt modelId="{D4159B72-F1D7-4A44-AE8F-072088FE00D6}" type="pres">
      <dgm:prSet presAssocID="{9C1A5748-78AE-4139-AC44-2FA75B113B57}" presName="space" presStyleCnt="0"/>
      <dgm:spPr/>
    </dgm:pt>
    <dgm:pt modelId="{4A833069-4C83-4095-A43A-FCE0A9CF9B7A}" type="pres">
      <dgm:prSet presAssocID="{14983D7E-490E-48BA-8693-1700F8D0B18F}" presName="composite" presStyleCnt="0"/>
      <dgm:spPr/>
    </dgm:pt>
    <dgm:pt modelId="{FE477B7E-9F15-4BFA-B572-CB2DEA0BEBC4}" type="pres">
      <dgm:prSet presAssocID="{14983D7E-490E-48BA-8693-1700F8D0B18F}" presName="parTx" presStyleLbl="alignNode1" presStyleIdx="3" presStyleCnt="4">
        <dgm:presLayoutVars>
          <dgm:chMax val="0"/>
          <dgm:chPref val="0"/>
          <dgm:bulletEnabled val="1"/>
        </dgm:presLayoutVars>
      </dgm:prSet>
      <dgm:spPr/>
    </dgm:pt>
    <dgm:pt modelId="{E2D9DB63-1596-41D5-A457-917848704257}" type="pres">
      <dgm:prSet presAssocID="{14983D7E-490E-48BA-8693-1700F8D0B18F}" presName="desTx" presStyleLbl="alignAccFollowNode1" presStyleIdx="3" presStyleCnt="4">
        <dgm:presLayoutVars>
          <dgm:bulletEnabled val="1"/>
        </dgm:presLayoutVars>
      </dgm:prSet>
      <dgm:spPr/>
    </dgm:pt>
  </dgm:ptLst>
  <dgm:cxnLst>
    <dgm:cxn modelId="{0EC30D0A-C7B0-413C-8B24-0655931C5B1B}" type="presOf" srcId="{4B5832BF-60B4-4E2C-99AC-BFD6D4B10515}" destId="{8FB4F2AD-83B5-4CCA-B1E3-259723B47999}" srcOrd="0" destOrd="0" presId="urn:microsoft.com/office/officeart/2005/8/layout/hList1"/>
    <dgm:cxn modelId="{C5958710-3C55-417C-8E69-9FF3843891BB}" type="presOf" srcId="{EDB08E14-A161-4258-A799-68F24D435783}" destId="{876DB11E-6969-44AB-B915-A43928B739C9}" srcOrd="0" destOrd="0" presId="urn:microsoft.com/office/officeart/2005/8/layout/hList1"/>
    <dgm:cxn modelId="{3B347C16-0B74-440B-B44E-B987245D2B01}" type="presOf" srcId="{14983D7E-490E-48BA-8693-1700F8D0B18F}" destId="{FE477B7E-9F15-4BFA-B572-CB2DEA0BEBC4}" srcOrd="0" destOrd="0" presId="urn:microsoft.com/office/officeart/2005/8/layout/hList1"/>
    <dgm:cxn modelId="{A3CDEF19-6A08-4169-B47B-764D00D856C5}" srcId="{EDB08E14-A161-4258-A799-68F24D435783}" destId="{A518CB49-DD99-42B4-A7FE-82D48AEE84C7}" srcOrd="1" destOrd="0" parTransId="{74394916-A4F6-48C2-A108-CB1B1D9BCDD4}" sibTransId="{AEA9807F-F7F6-44B2-90EB-969B9CC3282B}"/>
    <dgm:cxn modelId="{3CAB5D21-5633-4FE8-B71E-F0B7788C895D}" srcId="{3A1ADE3F-6AE4-4226-A2A3-DE15283DC8D3}" destId="{F22D09AC-FC5B-49DE-8142-74821AC18C31}" srcOrd="2" destOrd="0" parTransId="{A7835E78-2CCB-4E61-89E8-84A9180375E6}" sibTransId="{7E69E290-451C-485F-B62D-9FBCF1087E87}"/>
    <dgm:cxn modelId="{FF724421-5141-437D-AC9C-1383B1C9E91B}" srcId="{9529D96D-C5B0-47CB-9ADB-8D5F70F1B5E0}" destId="{EDB08E14-A161-4258-A799-68F24D435783}" srcOrd="2" destOrd="0" parTransId="{4DD43CE9-4C52-438F-A0F5-ACA6CD665ACC}" sibTransId="{9C1A5748-78AE-4139-AC44-2FA75B113B57}"/>
    <dgm:cxn modelId="{4843BE26-AD5B-4835-8461-F24DF7827EDA}" type="presOf" srcId="{95143E43-3F82-45ED-A628-08461DE7C632}" destId="{B7479E8C-C30A-4AA2-9866-9A2DDC5DCDEA}" srcOrd="0" destOrd="4" presId="urn:microsoft.com/office/officeart/2005/8/layout/hList1"/>
    <dgm:cxn modelId="{2A891C28-26AA-450D-B589-6CBB5E12F43B}" type="presOf" srcId="{98786F46-77C1-40BA-A4FA-E4D11B0CC42B}" destId="{EF79040D-744E-49A2-928E-70CCB667CD39}" srcOrd="0" destOrd="3" presId="urn:microsoft.com/office/officeart/2005/8/layout/hList1"/>
    <dgm:cxn modelId="{C634EB2C-0A71-4328-B3EC-D079E4BE07AE}" srcId="{EDB08E14-A161-4258-A799-68F24D435783}" destId="{E99D571C-D9DD-47BD-8A04-032E0EFFDB79}" srcOrd="0" destOrd="0" parTransId="{2E6EC7A0-A9CC-446B-9497-9339E96E7CE3}" sibTransId="{0E8FF72D-306D-4925-9B43-EA51154447B9}"/>
    <dgm:cxn modelId="{340DD15C-B48F-4C44-88F8-BFBA18892A14}" type="presOf" srcId="{AE8F7FBA-846C-4B45-A027-217D3E8F1B9C}" destId="{E2D9DB63-1596-41D5-A457-917848704257}" srcOrd="0" destOrd="2" presId="urn:microsoft.com/office/officeart/2005/8/layout/hList1"/>
    <dgm:cxn modelId="{6D39C367-9C02-4ED5-BA50-4601E0E2B214}" srcId="{426C962B-8B14-40F3-89B4-38FCBF5D65DC}" destId="{4B5832BF-60B4-4E2C-99AC-BFD6D4B10515}" srcOrd="0" destOrd="0" parTransId="{B1F91C21-706F-4D80-B594-7FA83B4C0C67}" sibTransId="{12D9AF33-306C-4112-8FE0-6B6342067C15}"/>
    <dgm:cxn modelId="{50FFF668-8BD7-4002-89D5-0974D88D527A}" srcId="{3A1ADE3F-6AE4-4226-A2A3-DE15283DC8D3}" destId="{98786F46-77C1-40BA-A4FA-E4D11B0CC42B}" srcOrd="3" destOrd="0" parTransId="{DCF188FB-93E4-4E22-931A-BF0BD86A3B72}" sibTransId="{F51640C2-54F7-4BB8-BBB2-5B56F92C45F7}"/>
    <dgm:cxn modelId="{BCBB6B49-97E1-4BE3-B428-4349508A23CB}" type="presOf" srcId="{E99D571C-D9DD-47BD-8A04-032E0EFFDB79}" destId="{B7479E8C-C30A-4AA2-9866-9A2DDC5DCDEA}" srcOrd="0" destOrd="0" presId="urn:microsoft.com/office/officeart/2005/8/layout/hList1"/>
    <dgm:cxn modelId="{4AA58349-2A30-4A1C-A91D-416AC565ECE2}" srcId="{14983D7E-490E-48BA-8693-1700F8D0B18F}" destId="{A95E6924-CDB6-4CE9-836C-E813E33553C7}" srcOrd="1" destOrd="0" parTransId="{E4198B8A-E648-404C-BD7B-02D4A615D4AE}" sibTransId="{DE64D511-9088-4776-91EB-ACB17CE4BA85}"/>
    <dgm:cxn modelId="{7894DC4C-410A-4954-997E-EE5BC5AEE6A3}" srcId="{EDB08E14-A161-4258-A799-68F24D435783}" destId="{95143E43-3F82-45ED-A628-08461DE7C632}" srcOrd="4" destOrd="0" parTransId="{F8D3B3CD-9703-4E35-8526-731A46E4366D}" sibTransId="{C7F02478-E5F9-4884-85FC-5EF2752470B3}"/>
    <dgm:cxn modelId="{D654706E-3F43-4471-A0A1-D5F2484BB8E8}" type="presOf" srcId="{9529D96D-C5B0-47CB-9ADB-8D5F70F1B5E0}" destId="{5916D303-A936-451F-8322-85035E99F11B}" srcOrd="0" destOrd="0" presId="urn:microsoft.com/office/officeart/2005/8/layout/hList1"/>
    <dgm:cxn modelId="{C227B970-3DB2-4FD2-AB33-4CC374F21690}" srcId="{9529D96D-C5B0-47CB-9ADB-8D5F70F1B5E0}" destId="{14983D7E-490E-48BA-8693-1700F8D0B18F}" srcOrd="3" destOrd="0" parTransId="{9D963BC1-E3AC-4A01-AAA2-A654C4790F1A}" sibTransId="{A2365301-77C4-43D1-9335-7A08C4633C64}"/>
    <dgm:cxn modelId="{75D8FD50-D693-40A7-BEF6-6141B0BA8195}" type="presOf" srcId="{DF7F9B89-9B08-48EE-90A5-B79EE2CF42DF}" destId="{E2D9DB63-1596-41D5-A457-917848704257}" srcOrd="0" destOrd="3" presId="urn:microsoft.com/office/officeart/2005/8/layout/hList1"/>
    <dgm:cxn modelId="{89A14D58-93EF-4D84-9715-3FAC0761827E}" type="presOf" srcId="{3A1ADE3F-6AE4-4226-A2A3-DE15283DC8D3}" destId="{40495F20-6E79-4B24-B28A-CE13354A7FFF}" srcOrd="0" destOrd="0" presId="urn:microsoft.com/office/officeart/2005/8/layout/hList1"/>
    <dgm:cxn modelId="{D60CE65A-57D9-4753-8453-A470CC9D62E8}" srcId="{3A1ADE3F-6AE4-4226-A2A3-DE15283DC8D3}" destId="{95CA6FE9-8B53-4D95-84B2-5E38059CF952}" srcOrd="1" destOrd="0" parTransId="{04F8EA0A-8D1F-4D3E-8A3D-5A4EABA4D2FA}" sibTransId="{4AD7285D-8641-4A35-9E8B-DDF3AC453E5C}"/>
    <dgm:cxn modelId="{B4DD2E7C-17B1-4D8A-A000-A3048D971A08}" type="presOf" srcId="{4B35C7D4-4EDA-445F-9323-D51B6E646388}" destId="{B7479E8C-C30A-4AA2-9866-9A2DDC5DCDEA}" srcOrd="0" destOrd="3" presId="urn:microsoft.com/office/officeart/2005/8/layout/hList1"/>
    <dgm:cxn modelId="{05D34E81-4BC6-4540-93EE-4CDC76D84F27}" srcId="{14983D7E-490E-48BA-8693-1700F8D0B18F}" destId="{AE8F7FBA-846C-4B45-A027-217D3E8F1B9C}" srcOrd="2" destOrd="0" parTransId="{C846E683-F112-499C-A228-C196843B8F53}" sibTransId="{236C3254-BD25-4359-A737-DA3486B29E2F}"/>
    <dgm:cxn modelId="{59A36683-DC43-4A57-8C13-87F875474C3B}" srcId="{14983D7E-490E-48BA-8693-1700F8D0B18F}" destId="{9009CEFD-9C0B-40E8-ABAF-6BEE1888AD85}" srcOrd="0" destOrd="0" parTransId="{D1E817A3-0055-4D37-839D-FB3E314E2E44}" sibTransId="{447627E8-A574-475F-A181-64DA0B4D7450}"/>
    <dgm:cxn modelId="{E4ED30A5-D255-4171-A5CA-70DB6647111E}" type="presOf" srcId="{426C962B-8B14-40F3-89B4-38FCBF5D65DC}" destId="{36684A3D-D11C-450A-BD38-52C373E0C37D}" srcOrd="0" destOrd="0" presId="urn:microsoft.com/office/officeart/2005/8/layout/hList1"/>
    <dgm:cxn modelId="{187C59B8-D6C2-4F8E-9347-99750483E32F}" type="presOf" srcId="{184ACC56-F94E-4B6C-AD8F-B862C05EF544}" destId="{EF79040D-744E-49A2-928E-70CCB667CD39}" srcOrd="0" destOrd="0" presId="urn:microsoft.com/office/officeart/2005/8/layout/hList1"/>
    <dgm:cxn modelId="{61B255BB-67A1-4B77-BB0B-3118C78356EE}" srcId="{9529D96D-C5B0-47CB-9ADB-8D5F70F1B5E0}" destId="{3A1ADE3F-6AE4-4226-A2A3-DE15283DC8D3}" srcOrd="0" destOrd="0" parTransId="{127D5C9D-161E-459B-8647-4815B713E645}" sibTransId="{1AD0CDA4-4764-4B6A-86E5-065C4769E1E9}"/>
    <dgm:cxn modelId="{B6F830BE-53CB-44E8-BF81-F3A6E150D4B6}" type="presOf" srcId="{95CA6FE9-8B53-4D95-84B2-5E38059CF952}" destId="{EF79040D-744E-49A2-928E-70CCB667CD39}" srcOrd="0" destOrd="1" presId="urn:microsoft.com/office/officeart/2005/8/layout/hList1"/>
    <dgm:cxn modelId="{5A0FD5C6-6D44-4F0F-A4A9-44CFDD43915C}" type="presOf" srcId="{A95E6924-CDB6-4CE9-836C-E813E33553C7}" destId="{E2D9DB63-1596-41D5-A457-917848704257}" srcOrd="0" destOrd="1" presId="urn:microsoft.com/office/officeart/2005/8/layout/hList1"/>
    <dgm:cxn modelId="{A6F3E0CF-349A-4CF1-98EF-D750DE057E43}" srcId="{9529D96D-C5B0-47CB-9ADB-8D5F70F1B5E0}" destId="{426C962B-8B14-40F3-89B4-38FCBF5D65DC}" srcOrd="1" destOrd="0" parTransId="{AB82AD76-8B71-47DC-B8A6-80751CE506B5}" sibTransId="{02A2ECDE-6E3E-4A95-9052-59EC2D020034}"/>
    <dgm:cxn modelId="{81DCE0D0-977D-4F4E-B24D-EA822B61B623}" type="presOf" srcId="{A518CB49-DD99-42B4-A7FE-82D48AEE84C7}" destId="{B7479E8C-C30A-4AA2-9866-9A2DDC5DCDEA}" srcOrd="0" destOrd="1" presId="urn:microsoft.com/office/officeart/2005/8/layout/hList1"/>
    <dgm:cxn modelId="{0B7242DD-4A8E-4496-9145-9430C620DF5B}" srcId="{3A1ADE3F-6AE4-4226-A2A3-DE15283DC8D3}" destId="{184ACC56-F94E-4B6C-AD8F-B862C05EF544}" srcOrd="0" destOrd="0" parTransId="{6F31F58C-7286-430C-A814-4F37789E39D1}" sibTransId="{2B3E4DA7-6DA8-4DE1-B871-CCB6EBD3655E}"/>
    <dgm:cxn modelId="{7F0DA1DF-F980-4885-A254-49CAB70D0D20}" type="presOf" srcId="{F22D09AC-FC5B-49DE-8142-74821AC18C31}" destId="{EF79040D-744E-49A2-928E-70CCB667CD39}" srcOrd="0" destOrd="2" presId="urn:microsoft.com/office/officeart/2005/8/layout/hList1"/>
    <dgm:cxn modelId="{213724EC-B558-4548-ADA2-9BF5F38E1F88}" type="presOf" srcId="{97AB9A54-05F6-46EA-8D92-01934F888988}" destId="{B7479E8C-C30A-4AA2-9866-9A2DDC5DCDEA}" srcOrd="0" destOrd="2" presId="urn:microsoft.com/office/officeart/2005/8/layout/hList1"/>
    <dgm:cxn modelId="{1B0F4BEF-3C10-4FC1-8A52-7BCAB84BCC84}" srcId="{14983D7E-490E-48BA-8693-1700F8D0B18F}" destId="{DF7F9B89-9B08-48EE-90A5-B79EE2CF42DF}" srcOrd="3" destOrd="0" parTransId="{44D611F9-A442-4755-B8AC-5CDA24EA26CC}" sibTransId="{B6B0BD9C-C468-4B2D-A3C0-744461D6BE04}"/>
    <dgm:cxn modelId="{23C6C1F6-B84C-4009-AB06-849F80970883}" srcId="{EDB08E14-A161-4258-A799-68F24D435783}" destId="{4B35C7D4-4EDA-445F-9323-D51B6E646388}" srcOrd="3" destOrd="0" parTransId="{73E79D41-30CE-49AF-A632-53E5D9D9C970}" sibTransId="{BA5F7B01-5843-48C9-B326-5B2F48EE4F32}"/>
    <dgm:cxn modelId="{FE89AFF7-C7F9-4AAC-9BFA-857E141F4951}" srcId="{EDB08E14-A161-4258-A799-68F24D435783}" destId="{97AB9A54-05F6-46EA-8D92-01934F888988}" srcOrd="2" destOrd="0" parTransId="{D3F0A300-DB7E-4888-B526-F2530018FE03}" sibTransId="{027D9DDB-70F4-4281-839B-79C375DF6042}"/>
    <dgm:cxn modelId="{52582BFE-7807-42FC-807D-4F57490D3363}" type="presOf" srcId="{9009CEFD-9C0B-40E8-ABAF-6BEE1888AD85}" destId="{E2D9DB63-1596-41D5-A457-917848704257}" srcOrd="0" destOrd="0" presId="urn:microsoft.com/office/officeart/2005/8/layout/hList1"/>
    <dgm:cxn modelId="{DB5A2829-4A78-457A-B8EC-6A9AB51E8FED}" type="presParOf" srcId="{5916D303-A936-451F-8322-85035E99F11B}" destId="{EB55AFF4-A628-4BCF-8202-99163B66D3E2}" srcOrd="0" destOrd="0" presId="urn:microsoft.com/office/officeart/2005/8/layout/hList1"/>
    <dgm:cxn modelId="{AB785D27-23D9-456C-999F-500988E6CBDA}" type="presParOf" srcId="{EB55AFF4-A628-4BCF-8202-99163B66D3E2}" destId="{40495F20-6E79-4B24-B28A-CE13354A7FFF}" srcOrd="0" destOrd="0" presId="urn:microsoft.com/office/officeart/2005/8/layout/hList1"/>
    <dgm:cxn modelId="{B69243CE-DF55-4364-B38B-0DF9BFEF38F7}" type="presParOf" srcId="{EB55AFF4-A628-4BCF-8202-99163B66D3E2}" destId="{EF79040D-744E-49A2-928E-70CCB667CD39}" srcOrd="1" destOrd="0" presId="urn:microsoft.com/office/officeart/2005/8/layout/hList1"/>
    <dgm:cxn modelId="{53A99AB4-AB9B-4E08-BCF2-2F81F721B6AB}" type="presParOf" srcId="{5916D303-A936-451F-8322-85035E99F11B}" destId="{1A33C007-43B6-4EFB-87AA-0164E03B4844}" srcOrd="1" destOrd="0" presId="urn:microsoft.com/office/officeart/2005/8/layout/hList1"/>
    <dgm:cxn modelId="{4A62438F-3F2B-4F4C-BE16-ABA19174FA3C}" type="presParOf" srcId="{5916D303-A936-451F-8322-85035E99F11B}" destId="{61FDAD99-677E-4076-8CAF-37B5387E90CC}" srcOrd="2" destOrd="0" presId="urn:microsoft.com/office/officeart/2005/8/layout/hList1"/>
    <dgm:cxn modelId="{F53EBC86-272D-413F-B97C-7F7C32B18482}" type="presParOf" srcId="{61FDAD99-677E-4076-8CAF-37B5387E90CC}" destId="{36684A3D-D11C-450A-BD38-52C373E0C37D}" srcOrd="0" destOrd="0" presId="urn:microsoft.com/office/officeart/2005/8/layout/hList1"/>
    <dgm:cxn modelId="{39CE8D95-95AD-404E-9809-2FF3CE308E1A}" type="presParOf" srcId="{61FDAD99-677E-4076-8CAF-37B5387E90CC}" destId="{8FB4F2AD-83B5-4CCA-B1E3-259723B47999}" srcOrd="1" destOrd="0" presId="urn:microsoft.com/office/officeart/2005/8/layout/hList1"/>
    <dgm:cxn modelId="{960B378A-1FBC-46A8-AFFB-69D49772327B}" type="presParOf" srcId="{5916D303-A936-451F-8322-85035E99F11B}" destId="{2847F3B1-A599-4A42-BF40-05CB86212049}" srcOrd="3" destOrd="0" presId="urn:microsoft.com/office/officeart/2005/8/layout/hList1"/>
    <dgm:cxn modelId="{B3D78126-9D5A-48EE-B1C8-AFA1ED1608FB}" type="presParOf" srcId="{5916D303-A936-451F-8322-85035E99F11B}" destId="{20F1D0D9-A8D2-46CD-8BFE-0B8489D14840}" srcOrd="4" destOrd="0" presId="urn:microsoft.com/office/officeart/2005/8/layout/hList1"/>
    <dgm:cxn modelId="{CBD2B5DE-DEBB-41F0-91F0-E514F07088DF}" type="presParOf" srcId="{20F1D0D9-A8D2-46CD-8BFE-0B8489D14840}" destId="{876DB11E-6969-44AB-B915-A43928B739C9}" srcOrd="0" destOrd="0" presId="urn:microsoft.com/office/officeart/2005/8/layout/hList1"/>
    <dgm:cxn modelId="{9F019192-1304-43DA-90B6-BEC39541DD1C}" type="presParOf" srcId="{20F1D0D9-A8D2-46CD-8BFE-0B8489D14840}" destId="{B7479E8C-C30A-4AA2-9866-9A2DDC5DCDEA}" srcOrd="1" destOrd="0" presId="urn:microsoft.com/office/officeart/2005/8/layout/hList1"/>
    <dgm:cxn modelId="{500A5D4D-94A9-4D6D-9BD3-0B027D1CF906}" type="presParOf" srcId="{5916D303-A936-451F-8322-85035E99F11B}" destId="{D4159B72-F1D7-4A44-AE8F-072088FE00D6}" srcOrd="5" destOrd="0" presId="urn:microsoft.com/office/officeart/2005/8/layout/hList1"/>
    <dgm:cxn modelId="{D4B617B7-3BE5-4F17-A564-735DE05ABB6C}" type="presParOf" srcId="{5916D303-A936-451F-8322-85035E99F11B}" destId="{4A833069-4C83-4095-A43A-FCE0A9CF9B7A}" srcOrd="6" destOrd="0" presId="urn:microsoft.com/office/officeart/2005/8/layout/hList1"/>
    <dgm:cxn modelId="{47B41764-E260-409C-A751-0A2F974BF5EA}" type="presParOf" srcId="{4A833069-4C83-4095-A43A-FCE0A9CF9B7A}" destId="{FE477B7E-9F15-4BFA-B572-CB2DEA0BEBC4}" srcOrd="0" destOrd="0" presId="urn:microsoft.com/office/officeart/2005/8/layout/hList1"/>
    <dgm:cxn modelId="{27B2A49E-DDEB-4626-955A-F52539084A6E}" type="presParOf" srcId="{4A833069-4C83-4095-A43A-FCE0A9CF9B7A}" destId="{E2D9DB63-1596-41D5-A457-91784870425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495F20-6E79-4B24-B28A-CE13354A7FFF}">
      <dsp:nvSpPr>
        <dsp:cNvPr id="0" name=""/>
        <dsp:cNvSpPr/>
      </dsp:nvSpPr>
      <dsp:spPr>
        <a:xfrm>
          <a:off x="4047"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File Server</a:t>
          </a:r>
        </a:p>
      </dsp:txBody>
      <dsp:txXfrm>
        <a:off x="4047" y="43195"/>
        <a:ext cx="2433738" cy="460800"/>
      </dsp:txXfrm>
    </dsp:sp>
    <dsp:sp modelId="{EF79040D-744E-49A2-928E-70CCB667CD39}">
      <dsp:nvSpPr>
        <dsp:cNvPr id="0" name=""/>
        <dsp:cNvSpPr/>
      </dsp:nvSpPr>
      <dsp:spPr>
        <a:xfrm>
          <a:off x="4047"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Users can access their work from any workstation</a:t>
          </a:r>
          <a:endParaRPr lang="en-US" sz="1600" kern="1200" dirty="0"/>
        </a:p>
        <a:p>
          <a:pPr marL="171450" lvl="1" indent="-171450" algn="l" defTabSz="711200">
            <a:lnSpc>
              <a:spcPct val="90000"/>
            </a:lnSpc>
            <a:spcBef>
              <a:spcPct val="0"/>
            </a:spcBef>
            <a:spcAft>
              <a:spcPct val="15000"/>
            </a:spcAft>
            <a:buChar char="•"/>
          </a:pPr>
          <a:r>
            <a:rPr lang="en-US" sz="1600" b="0" i="0" kern="1200" dirty="0"/>
            <a:t>Exchange work with colleagues.</a:t>
          </a:r>
          <a:endParaRPr lang="en-US" sz="1600" kern="1200" dirty="0"/>
        </a:p>
        <a:p>
          <a:pPr marL="171450" lvl="1" indent="-171450" algn="l" defTabSz="711200">
            <a:lnSpc>
              <a:spcPct val="90000"/>
            </a:lnSpc>
            <a:spcBef>
              <a:spcPct val="0"/>
            </a:spcBef>
            <a:spcAft>
              <a:spcPct val="15000"/>
            </a:spcAft>
            <a:buChar char="•"/>
          </a:pPr>
          <a:r>
            <a:rPr lang="en-US" sz="1600" b="0" i="0" kern="1200" dirty="0"/>
            <a:t>Users can easily co-operate on tasks.</a:t>
          </a:r>
          <a:endParaRPr lang="en-US" sz="1600" kern="1200" dirty="0"/>
        </a:p>
        <a:p>
          <a:pPr marL="171450" lvl="1" indent="-171450" algn="l" defTabSz="711200">
            <a:lnSpc>
              <a:spcPct val="90000"/>
            </a:lnSpc>
            <a:spcBef>
              <a:spcPct val="0"/>
            </a:spcBef>
            <a:spcAft>
              <a:spcPct val="15000"/>
            </a:spcAft>
            <a:buChar char="•"/>
          </a:pPr>
          <a:r>
            <a:rPr lang="en-US" sz="1600" b="0" i="0" kern="1200" dirty="0"/>
            <a:t>Backing up is centralized and can be placed under the control of experts</a:t>
          </a:r>
          <a:endParaRPr lang="en-US" sz="1600" kern="1200" dirty="0"/>
        </a:p>
      </dsp:txBody>
      <dsp:txXfrm>
        <a:off x="4047" y="503995"/>
        <a:ext cx="2433738" cy="4676450"/>
      </dsp:txXfrm>
    </dsp:sp>
    <dsp:sp modelId="{36684A3D-D11C-450A-BD38-52C373E0C37D}">
      <dsp:nvSpPr>
        <dsp:cNvPr id="0" name=""/>
        <dsp:cNvSpPr/>
      </dsp:nvSpPr>
      <dsp:spPr>
        <a:xfrm>
          <a:off x="2778509"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Print Server</a:t>
          </a:r>
        </a:p>
      </dsp:txBody>
      <dsp:txXfrm>
        <a:off x="2778509" y="43195"/>
        <a:ext cx="2433738" cy="460800"/>
      </dsp:txXfrm>
    </dsp:sp>
    <dsp:sp modelId="{8FB4F2AD-83B5-4CCA-B1E3-259723B47999}">
      <dsp:nvSpPr>
        <dsp:cNvPr id="0" name=""/>
        <dsp:cNvSpPr/>
      </dsp:nvSpPr>
      <dsp:spPr>
        <a:xfrm>
          <a:off x="2778509"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Printers only need be purchased for the print servers. This results in financial savings.</a:t>
          </a:r>
          <a:br>
            <a:rPr lang="en-US" sz="1600" b="0" i="0" kern="1200" dirty="0"/>
          </a:br>
          <a:r>
            <a:rPr lang="en-US" sz="1600" b="0" i="0" kern="1200" dirty="0"/>
            <a:t>• As there are fewer printers to look after, there is lower maintenance.</a:t>
          </a:r>
          <a:br>
            <a:rPr lang="en-US" sz="1600" b="0" i="0" kern="1200" dirty="0"/>
          </a:br>
          <a:r>
            <a:rPr lang="en-US" sz="1600" b="0" i="0" kern="1200" dirty="0"/>
            <a:t>• As far fewer printers need to be purchased better quality printers with advanced features can</a:t>
          </a:r>
          <a:br>
            <a:rPr lang="en-US" sz="1600" b="0" i="0" kern="1200" dirty="0"/>
          </a:br>
          <a:r>
            <a:rPr lang="en-US" sz="1600" b="0" i="0" kern="1200" dirty="0"/>
            <a:t>be purchased.</a:t>
          </a:r>
          <a:endParaRPr lang="en-US" sz="1600" kern="1200" dirty="0"/>
        </a:p>
      </dsp:txBody>
      <dsp:txXfrm>
        <a:off x="2778509" y="503995"/>
        <a:ext cx="2433738" cy="4676450"/>
      </dsp:txXfrm>
    </dsp:sp>
    <dsp:sp modelId="{876DB11E-6969-44AB-B915-A43928B739C9}">
      <dsp:nvSpPr>
        <dsp:cNvPr id="0" name=""/>
        <dsp:cNvSpPr/>
      </dsp:nvSpPr>
      <dsp:spPr>
        <a:xfrm>
          <a:off x="5552972"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Application Server</a:t>
          </a:r>
        </a:p>
      </dsp:txBody>
      <dsp:txXfrm>
        <a:off x="5552972" y="43195"/>
        <a:ext cx="2433738" cy="460800"/>
      </dsp:txXfrm>
    </dsp:sp>
    <dsp:sp modelId="{B7479E8C-C30A-4AA2-9866-9A2DDC5DCDEA}">
      <dsp:nvSpPr>
        <dsp:cNvPr id="0" name=""/>
        <dsp:cNvSpPr/>
      </dsp:nvSpPr>
      <dsp:spPr>
        <a:xfrm>
          <a:off x="5552972"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Software only needs to be installed on the applications server instead of each workstation.</a:t>
          </a:r>
          <a:endParaRPr lang="en-US" sz="1600" kern="1200" dirty="0"/>
        </a:p>
        <a:p>
          <a:pPr marL="171450" lvl="1" indent="-171450" algn="l" defTabSz="711200">
            <a:lnSpc>
              <a:spcPct val="90000"/>
            </a:lnSpc>
            <a:spcBef>
              <a:spcPct val="0"/>
            </a:spcBef>
            <a:spcAft>
              <a:spcPct val="15000"/>
            </a:spcAft>
            <a:buChar char="•"/>
          </a:pPr>
          <a:r>
            <a:rPr lang="en-US" sz="1600" b="0" i="0" kern="1200" dirty="0"/>
            <a:t>Software is configured in the same way for all.</a:t>
          </a:r>
          <a:endParaRPr lang="en-US" sz="1600" kern="1200" dirty="0"/>
        </a:p>
        <a:p>
          <a:pPr marL="171450" lvl="1" indent="-171450" algn="l" defTabSz="711200">
            <a:lnSpc>
              <a:spcPct val="90000"/>
            </a:lnSpc>
            <a:spcBef>
              <a:spcPct val="0"/>
            </a:spcBef>
            <a:spcAft>
              <a:spcPct val="15000"/>
            </a:spcAft>
            <a:buChar char="•"/>
          </a:pPr>
          <a:r>
            <a:rPr lang="en-US" sz="1600" b="0" i="0" kern="1200" dirty="0"/>
            <a:t>Upgrading only needs to be done on the server.</a:t>
          </a:r>
          <a:endParaRPr lang="en-US" sz="1600" kern="1200" dirty="0"/>
        </a:p>
        <a:p>
          <a:pPr marL="171450" lvl="1" indent="-171450" algn="l" defTabSz="711200">
            <a:lnSpc>
              <a:spcPct val="90000"/>
            </a:lnSpc>
            <a:spcBef>
              <a:spcPct val="0"/>
            </a:spcBef>
            <a:spcAft>
              <a:spcPct val="15000"/>
            </a:spcAft>
            <a:buChar char="•"/>
          </a:pPr>
          <a:r>
            <a:rPr lang="en-US" sz="1600" b="0" i="0" kern="1200" dirty="0"/>
            <a:t>Cost of licensing software for an applications server is less</a:t>
          </a:r>
          <a:endParaRPr lang="en-US" sz="1600" kern="1200" dirty="0"/>
        </a:p>
        <a:p>
          <a:pPr marL="171450" lvl="1" indent="-171450" algn="l" defTabSz="711200">
            <a:lnSpc>
              <a:spcPct val="90000"/>
            </a:lnSpc>
            <a:spcBef>
              <a:spcPct val="0"/>
            </a:spcBef>
            <a:spcAft>
              <a:spcPct val="15000"/>
            </a:spcAft>
            <a:buChar char="•"/>
          </a:pPr>
          <a:r>
            <a:rPr lang="en-US" sz="1600" b="0" i="0" kern="1200" dirty="0"/>
            <a:t>Centralizing simplifies the process of implementing policies. Software policies refer to what software may be installed on computers</a:t>
          </a:r>
          <a:endParaRPr lang="en-US" sz="1600" kern="1200" dirty="0"/>
        </a:p>
      </dsp:txBody>
      <dsp:txXfrm>
        <a:off x="5552972" y="503995"/>
        <a:ext cx="2433738" cy="4676450"/>
      </dsp:txXfrm>
    </dsp:sp>
    <dsp:sp modelId="{FE477B7E-9F15-4BFA-B572-CB2DEA0BEBC4}">
      <dsp:nvSpPr>
        <dsp:cNvPr id="0" name=""/>
        <dsp:cNvSpPr/>
      </dsp:nvSpPr>
      <dsp:spPr>
        <a:xfrm>
          <a:off x="8327434" y="43195"/>
          <a:ext cx="2433738" cy="460800"/>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marL="0" lvl="0" indent="0" algn="ctr" defTabSz="711200">
            <a:lnSpc>
              <a:spcPct val="90000"/>
            </a:lnSpc>
            <a:spcBef>
              <a:spcPct val="0"/>
            </a:spcBef>
            <a:spcAft>
              <a:spcPct val="35000"/>
            </a:spcAft>
            <a:buNone/>
          </a:pPr>
          <a:r>
            <a:rPr lang="en-US" sz="1600" kern="1200" dirty="0"/>
            <a:t>Proxy Server</a:t>
          </a:r>
        </a:p>
      </dsp:txBody>
      <dsp:txXfrm>
        <a:off x="8327434" y="43195"/>
        <a:ext cx="2433738" cy="460800"/>
      </dsp:txXfrm>
    </dsp:sp>
    <dsp:sp modelId="{E2D9DB63-1596-41D5-A457-917848704257}">
      <dsp:nvSpPr>
        <dsp:cNvPr id="0" name=""/>
        <dsp:cNvSpPr/>
      </dsp:nvSpPr>
      <dsp:spPr>
        <a:xfrm>
          <a:off x="8327434" y="503995"/>
          <a:ext cx="2433738" cy="4676450"/>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b="0" i="0" kern="1200" dirty="0"/>
            <a:t>can be configured with </a:t>
          </a:r>
          <a:r>
            <a:rPr lang="en-US" sz="1600" b="1" i="0" kern="1200" dirty="0"/>
            <a:t>firewall </a:t>
          </a:r>
          <a:r>
            <a:rPr lang="en-US" sz="1600" b="0" i="0" kern="1200" dirty="0"/>
            <a:t>software. To protect network from</a:t>
          </a:r>
          <a:br>
            <a:rPr lang="en-US" sz="1600" b="0" i="0" kern="1200" dirty="0"/>
          </a:br>
          <a:r>
            <a:rPr lang="en-US" sz="1600" b="0" i="0" kern="1200" dirty="0"/>
            <a:t>attack.</a:t>
          </a:r>
          <a:endParaRPr lang="en-US" sz="1600" kern="1200" dirty="0"/>
        </a:p>
        <a:p>
          <a:pPr marL="171450" lvl="1" indent="-171450" algn="l" defTabSz="711200">
            <a:lnSpc>
              <a:spcPct val="90000"/>
            </a:lnSpc>
            <a:spcBef>
              <a:spcPct val="0"/>
            </a:spcBef>
            <a:spcAft>
              <a:spcPct val="15000"/>
            </a:spcAft>
            <a:buChar char="•"/>
          </a:pPr>
          <a:r>
            <a:rPr lang="en-US" sz="1600" b="0" i="0" kern="1200" dirty="0"/>
            <a:t>Files can be filtered for computer viruses before being passed on to the network</a:t>
          </a:r>
          <a:endParaRPr lang="en-US" sz="1600" kern="1200" dirty="0"/>
        </a:p>
        <a:p>
          <a:pPr marL="171450" lvl="1" indent="-171450" algn="l" defTabSz="711200">
            <a:lnSpc>
              <a:spcPct val="90000"/>
            </a:lnSpc>
            <a:spcBef>
              <a:spcPct val="0"/>
            </a:spcBef>
            <a:spcAft>
              <a:spcPct val="15000"/>
            </a:spcAft>
            <a:buChar char="•"/>
          </a:pPr>
          <a:r>
            <a:rPr lang="en-US" sz="1600" b="0" i="0" kern="1200" dirty="0"/>
            <a:t>Organizations can control access of users to outside sites.</a:t>
          </a:r>
          <a:endParaRPr lang="en-US" sz="1600" kern="1200" dirty="0"/>
        </a:p>
        <a:p>
          <a:pPr marL="171450" lvl="1" indent="-171450" algn="l" defTabSz="711200">
            <a:lnSpc>
              <a:spcPct val="90000"/>
            </a:lnSpc>
            <a:spcBef>
              <a:spcPct val="0"/>
            </a:spcBef>
            <a:spcAft>
              <a:spcPct val="15000"/>
            </a:spcAft>
            <a:buChar char="•"/>
          </a:pPr>
          <a:r>
            <a:rPr lang="en-US" sz="1600" b="0" i="0" kern="1200" dirty="0"/>
            <a:t>Since there is only one point of communication, there is a large saving on line costs.</a:t>
          </a:r>
          <a:br>
            <a:rPr lang="en-US" sz="1600" kern="1200" dirty="0"/>
          </a:br>
          <a:br>
            <a:rPr lang="en-US" sz="1600" kern="1200" dirty="0"/>
          </a:br>
          <a:endParaRPr lang="en-US" sz="1600" kern="1200" dirty="0"/>
        </a:p>
      </dsp:txBody>
      <dsp:txXfrm>
        <a:off x="8327434" y="503995"/>
        <a:ext cx="2433738" cy="467645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6553BB-3E24-4501-B239-A2252CDB05AC}" type="datetimeFigureOut">
              <a:rPr lang="en-US" smtClean="0"/>
              <a:t>11/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4150CA-A6A2-4DD1-9FC7-4566D012DA5D}" type="slidenum">
              <a:rPr lang="en-US" smtClean="0"/>
              <a:t>‹#›</a:t>
            </a:fld>
            <a:endParaRPr lang="en-US"/>
          </a:p>
        </p:txBody>
      </p:sp>
    </p:spTree>
    <p:extLst>
      <p:ext uri="{BB962C8B-B14F-4D97-AF65-F5344CB8AC3E}">
        <p14:creationId xmlns:p14="http://schemas.microsoft.com/office/powerpoint/2010/main" val="9426104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slideplayer.com/slide/6359162/"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ICDL Module 1 Basic Concepts of IT Content overview Hardware and software Processing and data Types of computer system Networks (an introduction!) Use. - ppt download (slideplayer.com)</a:t>
            </a: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1</a:t>
            </a:fld>
            <a:endParaRPr lang="en-US"/>
          </a:p>
        </p:txBody>
      </p:sp>
    </p:spTree>
    <p:extLst>
      <p:ext uri="{BB962C8B-B14F-4D97-AF65-F5344CB8AC3E}">
        <p14:creationId xmlns:p14="http://schemas.microsoft.com/office/powerpoint/2010/main" val="1298635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 set of computers connected together so that they can communicate </a:t>
            </a:r>
            <a:r>
              <a:rPr lang="en-US" sz="1200" b="0" i="0" kern="1200" dirty="0" err="1">
                <a:solidFill>
                  <a:schemeClr val="tx1"/>
                </a:solidFill>
                <a:effectLst/>
                <a:latin typeface="+mn-lt"/>
                <a:ea typeface="+mn-ea"/>
                <a:cs typeface="+mn-cs"/>
              </a:rPr>
              <a:t>iscalled</a:t>
            </a:r>
            <a:r>
              <a:rPr lang="en-US" sz="1200" b="0" i="0" kern="1200" dirty="0">
                <a:solidFill>
                  <a:schemeClr val="tx1"/>
                </a:solidFill>
                <a:effectLst/>
                <a:latin typeface="+mn-lt"/>
                <a:ea typeface="+mn-ea"/>
                <a:cs typeface="+mn-cs"/>
              </a:rPr>
              <a:t> a computer network</a:t>
            </a:r>
            <a:r>
              <a:rPr lang="en-US" dirty="0"/>
              <a:t> </a:t>
            </a:r>
            <a:br>
              <a:rPr lang="en-US" dirty="0"/>
            </a:b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2</a:t>
            </a:fld>
            <a:endParaRPr lang="en-US"/>
          </a:p>
        </p:txBody>
      </p:sp>
    </p:spTree>
    <p:extLst>
      <p:ext uri="{BB962C8B-B14F-4D97-AF65-F5344CB8AC3E}">
        <p14:creationId xmlns:p14="http://schemas.microsoft.com/office/powerpoint/2010/main" val="3289902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er</a:t>
            </a:r>
          </a:p>
          <a:p>
            <a:r>
              <a:rPr lang="en-US" dirty="0"/>
              <a:t>Client / Workstation</a:t>
            </a:r>
          </a:p>
          <a:p>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3</a:t>
            </a:fld>
            <a:endParaRPr lang="en-US"/>
          </a:p>
        </p:txBody>
      </p:sp>
    </p:spTree>
    <p:extLst>
      <p:ext uri="{BB962C8B-B14F-4D97-AF65-F5344CB8AC3E}">
        <p14:creationId xmlns:p14="http://schemas.microsoft.com/office/powerpoint/2010/main" val="17390129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LAN is a group of computers within the same building, or within a group of buildings that are in close proximity, that are connected together.</a:t>
            </a:r>
            <a:r>
              <a:rPr lang="en-US" dirty="0"/>
              <a:t> </a:t>
            </a:r>
            <a:br>
              <a:rPr lang="en-US" dirty="0"/>
            </a:b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4</a:t>
            </a:fld>
            <a:endParaRPr lang="en-US"/>
          </a:p>
        </p:txBody>
      </p:sp>
    </p:spTree>
    <p:extLst>
      <p:ext uri="{BB962C8B-B14F-4D97-AF65-F5344CB8AC3E}">
        <p14:creationId xmlns:p14="http://schemas.microsoft.com/office/powerpoint/2010/main" val="15344252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group of widely dispersed computers that are connected together. These could be across the same town, or across a country or even across the world.</a:t>
            </a:r>
            <a:br>
              <a:rPr lang="en-US" sz="1200" b="0" i="0" kern="1200" dirty="0">
                <a:solidFill>
                  <a:schemeClr val="tx1"/>
                </a:solidFill>
                <a:effectLst/>
                <a:latin typeface="+mn-lt"/>
                <a:ea typeface="+mn-ea"/>
                <a:cs typeface="+mn-cs"/>
              </a:rPr>
            </a:br>
            <a:r>
              <a:rPr lang="en-US" sz="1200" b="0" i="0" kern="1200" dirty="0">
                <a:solidFill>
                  <a:schemeClr val="tx1"/>
                </a:solidFill>
                <a:effectLst/>
                <a:latin typeface="+mn-lt"/>
                <a:ea typeface="+mn-ea"/>
                <a:cs typeface="+mn-cs"/>
              </a:rPr>
              <a:t>Apart from distance, the other feature that distinguishes as WAN from a LAN is that the WAN would make use of a range of communication technologies such as telephone, microwave and satellite links.</a:t>
            </a:r>
            <a:r>
              <a:rPr lang="en-US" dirty="0"/>
              <a:t> </a:t>
            </a:r>
            <a:br>
              <a:rPr lang="en-US" dirty="0"/>
            </a:b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5</a:t>
            </a:fld>
            <a:endParaRPr lang="en-US"/>
          </a:p>
        </p:txBody>
      </p:sp>
    </p:spTree>
    <p:extLst>
      <p:ext uri="{BB962C8B-B14F-4D97-AF65-F5344CB8AC3E}">
        <p14:creationId xmlns:p14="http://schemas.microsoft.com/office/powerpoint/2010/main" val="23767231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kern="1200" dirty="0">
                <a:solidFill>
                  <a:schemeClr val="tx1"/>
                </a:solidFill>
                <a:effectLst/>
                <a:latin typeface="+mn-lt"/>
                <a:ea typeface="+mn-ea"/>
                <a:cs typeface="+mn-cs"/>
              </a:rPr>
              <a:t>Internet in 1969, </a:t>
            </a:r>
          </a:p>
          <a:p>
            <a:r>
              <a:rPr lang="en-US" sz="1200" b="1" i="0" kern="1200" dirty="0">
                <a:solidFill>
                  <a:schemeClr val="tx1"/>
                </a:solidFill>
                <a:effectLst/>
                <a:latin typeface="+mn-lt"/>
                <a:ea typeface="+mn-ea"/>
                <a:cs typeface="+mn-cs"/>
              </a:rPr>
              <a:t>January 1, 1983</a:t>
            </a:r>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7</a:t>
            </a:fld>
            <a:endParaRPr lang="en-US"/>
          </a:p>
        </p:txBody>
      </p:sp>
    </p:spTree>
    <p:extLst>
      <p:ext uri="{BB962C8B-B14F-4D97-AF65-F5344CB8AC3E}">
        <p14:creationId xmlns:p14="http://schemas.microsoft.com/office/powerpoint/2010/main" val="32164197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991</a:t>
            </a:r>
          </a:p>
        </p:txBody>
      </p:sp>
      <p:sp>
        <p:nvSpPr>
          <p:cNvPr id="4" name="Slide Number Placeholder 3"/>
          <p:cNvSpPr>
            <a:spLocks noGrp="1"/>
          </p:cNvSpPr>
          <p:nvPr>
            <p:ph type="sldNum" sz="quarter" idx="5"/>
          </p:nvPr>
        </p:nvSpPr>
        <p:spPr/>
        <p:txBody>
          <a:bodyPr/>
          <a:lstStyle/>
          <a:p>
            <a:fld id="{204150CA-A6A2-4DD1-9FC7-4566D012DA5D}" type="slidenum">
              <a:rPr lang="en-US" smtClean="0"/>
              <a:t>9</a:t>
            </a:fld>
            <a:endParaRPr lang="en-US"/>
          </a:p>
        </p:txBody>
      </p:sp>
    </p:spTree>
    <p:extLst>
      <p:ext uri="{BB962C8B-B14F-4D97-AF65-F5344CB8AC3E}">
        <p14:creationId xmlns:p14="http://schemas.microsoft.com/office/powerpoint/2010/main" val="39542646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4150CA-A6A2-4DD1-9FC7-4566D012DA5D}" type="slidenum">
              <a:rPr lang="en-US" smtClean="0"/>
              <a:t>12</a:t>
            </a:fld>
            <a:endParaRPr lang="en-US"/>
          </a:p>
        </p:txBody>
      </p:sp>
    </p:spTree>
    <p:extLst>
      <p:ext uri="{BB962C8B-B14F-4D97-AF65-F5344CB8AC3E}">
        <p14:creationId xmlns:p14="http://schemas.microsoft.com/office/powerpoint/2010/main" val="7918437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6B670F-B789-4117-9FF2-279AC8958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51D066C-9EBA-4A5C-ABD6-76A7379BC5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B1759C5-B344-42A4-A907-664543A51AA2}"/>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7DD86E64-90AC-42DE-ADF0-FB87FD523D53}"/>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FA7C2558-2913-4398-8A90-5E4EE469C56D}"/>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3295498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7DA623-2725-4156-8B60-03B162984D3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AE6C2A0-04ED-49B5-9C79-DBAD4D2201C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931B7-480F-4AAF-ABCF-9892F4B49D3C}"/>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090F23C4-2E18-4336-970B-E26B0DF3966B}"/>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664C2B1E-D358-46F1-B732-F2E20EE4C0FB}"/>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2020700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337630B-0B2D-4186-8F4E-7E1FCC1DFE8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7F6A496-F93A-4349-AC25-99BC072C0D5D}"/>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3DEF65-7A0E-4150-ABBD-10D4784CFC7C}"/>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6E94BCD3-FF52-4B7B-9598-FF47A0A48BF9}"/>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0B799E5A-0D60-4A79-A3F4-56F331F9E251}"/>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18530092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3C387E-2FFA-44BE-B0F5-A742916E24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6C4C33-9503-4257-A99C-3C3B59074B1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B7DB4A-72B6-411F-AFE8-6A0AF13C6485}"/>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DC087FEC-47D0-4EFF-88A3-B3B8F0E3C62F}"/>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F2A20E56-2CE3-45D2-BA37-EDD76C20BC7D}"/>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87631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773EC8-635C-4419-90BF-D6D42027CCB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27A6696-3555-4780-8A97-49FF887FFE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C936AA7-001E-4DE4-97F3-17519F733F98}"/>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813CEAA1-C21D-437C-A55F-0916E8FA9D81}"/>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96B54F45-48BA-4E58-A58F-CAA90D8CDDA2}"/>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2455077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1493A3-ACB8-4A9D-B570-EA33E3DFD0E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72A5B4-3BBD-4C34-9289-B3CEBB14A12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FFC2512-71EA-4F78-AC8D-FC8CFC9E671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FFCF4AD-10E8-4C87-A02D-48AEF42207D8}"/>
              </a:ext>
            </a:extLst>
          </p:cNvPr>
          <p:cNvSpPr>
            <a:spLocks noGrp="1"/>
          </p:cNvSpPr>
          <p:nvPr>
            <p:ph type="dt" sz="half" idx="10"/>
          </p:nvPr>
        </p:nvSpPr>
        <p:spPr/>
        <p:txBody>
          <a:bodyPr/>
          <a:lstStyle/>
          <a:p>
            <a:r>
              <a:rPr lang="en-US"/>
              <a:t>12-3-2023</a:t>
            </a:r>
          </a:p>
        </p:txBody>
      </p:sp>
      <p:sp>
        <p:nvSpPr>
          <p:cNvPr id="6" name="Footer Placeholder 5">
            <a:extLst>
              <a:ext uri="{FF2B5EF4-FFF2-40B4-BE49-F238E27FC236}">
                <a16:creationId xmlns:a16="http://schemas.microsoft.com/office/drawing/2014/main" id="{3C57AD06-8ABD-48A2-8C1F-E4F515F6A387}"/>
              </a:ext>
            </a:extLst>
          </p:cNvPr>
          <p:cNvSpPr>
            <a:spLocks noGrp="1"/>
          </p:cNvSpPr>
          <p:nvPr>
            <p:ph type="ftr" sz="quarter" idx="11"/>
          </p:nvPr>
        </p:nvSpPr>
        <p:spPr/>
        <p:txBody>
          <a:bodyPr/>
          <a:lstStyle/>
          <a:p>
            <a:r>
              <a:rPr lang="en-US"/>
              <a:t>Levture 4</a:t>
            </a:r>
          </a:p>
        </p:txBody>
      </p:sp>
      <p:sp>
        <p:nvSpPr>
          <p:cNvPr id="7" name="Slide Number Placeholder 6">
            <a:extLst>
              <a:ext uri="{FF2B5EF4-FFF2-40B4-BE49-F238E27FC236}">
                <a16:creationId xmlns:a16="http://schemas.microsoft.com/office/drawing/2014/main" id="{7DA4C178-29C7-4F6D-9A5E-631CC6DAEDDB}"/>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17604893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A905E-BAEF-477B-821F-DAB04718E4F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E34055-B698-4E6B-8AEC-8B20AA0A78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F758C50-C589-497F-A500-3C680B48B07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B17E26-E5C9-47F7-A495-3BD089DBC1A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029AA01-1807-47E4-9C2F-E1450BDA90E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97905D7-A889-4CFB-B101-44D5E1052EEC}"/>
              </a:ext>
            </a:extLst>
          </p:cNvPr>
          <p:cNvSpPr>
            <a:spLocks noGrp="1"/>
          </p:cNvSpPr>
          <p:nvPr>
            <p:ph type="dt" sz="half" idx="10"/>
          </p:nvPr>
        </p:nvSpPr>
        <p:spPr/>
        <p:txBody>
          <a:bodyPr/>
          <a:lstStyle/>
          <a:p>
            <a:r>
              <a:rPr lang="en-US"/>
              <a:t>12-3-2023</a:t>
            </a:r>
          </a:p>
        </p:txBody>
      </p:sp>
      <p:sp>
        <p:nvSpPr>
          <p:cNvPr id="8" name="Footer Placeholder 7">
            <a:extLst>
              <a:ext uri="{FF2B5EF4-FFF2-40B4-BE49-F238E27FC236}">
                <a16:creationId xmlns:a16="http://schemas.microsoft.com/office/drawing/2014/main" id="{10C886E8-5561-461C-9222-217E9E215089}"/>
              </a:ext>
            </a:extLst>
          </p:cNvPr>
          <p:cNvSpPr>
            <a:spLocks noGrp="1"/>
          </p:cNvSpPr>
          <p:nvPr>
            <p:ph type="ftr" sz="quarter" idx="11"/>
          </p:nvPr>
        </p:nvSpPr>
        <p:spPr/>
        <p:txBody>
          <a:bodyPr/>
          <a:lstStyle/>
          <a:p>
            <a:r>
              <a:rPr lang="en-US"/>
              <a:t>Levture 4</a:t>
            </a:r>
          </a:p>
        </p:txBody>
      </p:sp>
      <p:sp>
        <p:nvSpPr>
          <p:cNvPr id="9" name="Slide Number Placeholder 8">
            <a:extLst>
              <a:ext uri="{FF2B5EF4-FFF2-40B4-BE49-F238E27FC236}">
                <a16:creationId xmlns:a16="http://schemas.microsoft.com/office/drawing/2014/main" id="{EF5F0D4F-EFB0-4644-9C03-EE76D96DACB7}"/>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37943408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EFF9C-7CC2-4EAF-9BA6-F5943B771E9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CA32392-E0EA-4678-9270-4AAAC2078F89}"/>
              </a:ext>
            </a:extLst>
          </p:cNvPr>
          <p:cNvSpPr>
            <a:spLocks noGrp="1"/>
          </p:cNvSpPr>
          <p:nvPr>
            <p:ph type="dt" sz="half" idx="10"/>
          </p:nvPr>
        </p:nvSpPr>
        <p:spPr/>
        <p:txBody>
          <a:bodyPr/>
          <a:lstStyle/>
          <a:p>
            <a:r>
              <a:rPr lang="en-US"/>
              <a:t>12-3-2023</a:t>
            </a:r>
          </a:p>
        </p:txBody>
      </p:sp>
      <p:sp>
        <p:nvSpPr>
          <p:cNvPr id="4" name="Footer Placeholder 3">
            <a:extLst>
              <a:ext uri="{FF2B5EF4-FFF2-40B4-BE49-F238E27FC236}">
                <a16:creationId xmlns:a16="http://schemas.microsoft.com/office/drawing/2014/main" id="{3A38EB44-CEFA-4ECC-BF43-1BBD7763F405}"/>
              </a:ext>
            </a:extLst>
          </p:cNvPr>
          <p:cNvSpPr>
            <a:spLocks noGrp="1"/>
          </p:cNvSpPr>
          <p:nvPr>
            <p:ph type="ftr" sz="quarter" idx="11"/>
          </p:nvPr>
        </p:nvSpPr>
        <p:spPr/>
        <p:txBody>
          <a:bodyPr/>
          <a:lstStyle/>
          <a:p>
            <a:r>
              <a:rPr lang="en-US"/>
              <a:t>Levture 4</a:t>
            </a:r>
          </a:p>
        </p:txBody>
      </p:sp>
      <p:sp>
        <p:nvSpPr>
          <p:cNvPr id="5" name="Slide Number Placeholder 4">
            <a:extLst>
              <a:ext uri="{FF2B5EF4-FFF2-40B4-BE49-F238E27FC236}">
                <a16:creationId xmlns:a16="http://schemas.microsoft.com/office/drawing/2014/main" id="{04028148-55A7-4198-8D52-0054440DC3D0}"/>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4004543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AACE70-8B8B-41EE-A1CB-3F2E323476ED}"/>
              </a:ext>
            </a:extLst>
          </p:cNvPr>
          <p:cNvSpPr>
            <a:spLocks noGrp="1"/>
          </p:cNvSpPr>
          <p:nvPr>
            <p:ph type="dt" sz="half" idx="10"/>
          </p:nvPr>
        </p:nvSpPr>
        <p:spPr/>
        <p:txBody>
          <a:bodyPr/>
          <a:lstStyle/>
          <a:p>
            <a:r>
              <a:rPr lang="en-US"/>
              <a:t>12-3-2023</a:t>
            </a:r>
          </a:p>
        </p:txBody>
      </p:sp>
      <p:sp>
        <p:nvSpPr>
          <p:cNvPr id="3" name="Footer Placeholder 2">
            <a:extLst>
              <a:ext uri="{FF2B5EF4-FFF2-40B4-BE49-F238E27FC236}">
                <a16:creationId xmlns:a16="http://schemas.microsoft.com/office/drawing/2014/main" id="{420DA368-D3A5-4535-9E16-20C45A0C392A}"/>
              </a:ext>
            </a:extLst>
          </p:cNvPr>
          <p:cNvSpPr>
            <a:spLocks noGrp="1"/>
          </p:cNvSpPr>
          <p:nvPr>
            <p:ph type="ftr" sz="quarter" idx="11"/>
          </p:nvPr>
        </p:nvSpPr>
        <p:spPr/>
        <p:txBody>
          <a:bodyPr/>
          <a:lstStyle/>
          <a:p>
            <a:r>
              <a:rPr lang="en-US"/>
              <a:t>Levture 4</a:t>
            </a:r>
          </a:p>
        </p:txBody>
      </p:sp>
      <p:sp>
        <p:nvSpPr>
          <p:cNvPr id="4" name="Slide Number Placeholder 3">
            <a:extLst>
              <a:ext uri="{FF2B5EF4-FFF2-40B4-BE49-F238E27FC236}">
                <a16:creationId xmlns:a16="http://schemas.microsoft.com/office/drawing/2014/main" id="{F5C44FC3-6DA2-4A69-AD77-EA3BA10B8F77}"/>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2254783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9CBE39-7E26-4C06-98A8-847D438DB4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9899F6-2D8A-44DC-B22D-34DA91B25F4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BBD376-8C4C-4FF8-A79D-75BFA19661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83DF0BB-1F47-4B2D-876A-D1124A04F2BC}"/>
              </a:ext>
            </a:extLst>
          </p:cNvPr>
          <p:cNvSpPr>
            <a:spLocks noGrp="1"/>
          </p:cNvSpPr>
          <p:nvPr>
            <p:ph type="dt" sz="half" idx="10"/>
          </p:nvPr>
        </p:nvSpPr>
        <p:spPr/>
        <p:txBody>
          <a:bodyPr/>
          <a:lstStyle/>
          <a:p>
            <a:r>
              <a:rPr lang="en-US"/>
              <a:t>12-3-2023</a:t>
            </a:r>
          </a:p>
        </p:txBody>
      </p:sp>
      <p:sp>
        <p:nvSpPr>
          <p:cNvPr id="6" name="Footer Placeholder 5">
            <a:extLst>
              <a:ext uri="{FF2B5EF4-FFF2-40B4-BE49-F238E27FC236}">
                <a16:creationId xmlns:a16="http://schemas.microsoft.com/office/drawing/2014/main" id="{55FC5BCD-4ADA-4CF7-9EE3-AE6CE6F95C7C}"/>
              </a:ext>
            </a:extLst>
          </p:cNvPr>
          <p:cNvSpPr>
            <a:spLocks noGrp="1"/>
          </p:cNvSpPr>
          <p:nvPr>
            <p:ph type="ftr" sz="quarter" idx="11"/>
          </p:nvPr>
        </p:nvSpPr>
        <p:spPr/>
        <p:txBody>
          <a:bodyPr/>
          <a:lstStyle/>
          <a:p>
            <a:r>
              <a:rPr lang="en-US"/>
              <a:t>Levture 4</a:t>
            </a:r>
          </a:p>
        </p:txBody>
      </p:sp>
      <p:sp>
        <p:nvSpPr>
          <p:cNvPr id="7" name="Slide Number Placeholder 6">
            <a:extLst>
              <a:ext uri="{FF2B5EF4-FFF2-40B4-BE49-F238E27FC236}">
                <a16:creationId xmlns:a16="http://schemas.microsoft.com/office/drawing/2014/main" id="{4109C18E-C0B4-458F-B468-F3F08DE1C624}"/>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3950970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18F3A-48A0-4472-8102-4A88A19B40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FF04DC9-DC57-4913-8340-C0026550129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BA6E928-FB77-4439-A6EE-ADC92CBB80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8443DB34-9A5E-470D-A76E-70168BFE9D4F}"/>
              </a:ext>
            </a:extLst>
          </p:cNvPr>
          <p:cNvSpPr>
            <a:spLocks noGrp="1"/>
          </p:cNvSpPr>
          <p:nvPr>
            <p:ph type="dt" sz="half" idx="10"/>
          </p:nvPr>
        </p:nvSpPr>
        <p:spPr/>
        <p:txBody>
          <a:bodyPr/>
          <a:lstStyle/>
          <a:p>
            <a:r>
              <a:rPr lang="en-US"/>
              <a:t>12-3-2023</a:t>
            </a:r>
          </a:p>
        </p:txBody>
      </p:sp>
      <p:sp>
        <p:nvSpPr>
          <p:cNvPr id="6" name="Footer Placeholder 5">
            <a:extLst>
              <a:ext uri="{FF2B5EF4-FFF2-40B4-BE49-F238E27FC236}">
                <a16:creationId xmlns:a16="http://schemas.microsoft.com/office/drawing/2014/main" id="{7B28E73F-CE74-4BE1-B35C-6A6FE9B79B60}"/>
              </a:ext>
            </a:extLst>
          </p:cNvPr>
          <p:cNvSpPr>
            <a:spLocks noGrp="1"/>
          </p:cNvSpPr>
          <p:nvPr>
            <p:ph type="ftr" sz="quarter" idx="11"/>
          </p:nvPr>
        </p:nvSpPr>
        <p:spPr/>
        <p:txBody>
          <a:bodyPr/>
          <a:lstStyle/>
          <a:p>
            <a:r>
              <a:rPr lang="en-US"/>
              <a:t>Levture 4</a:t>
            </a:r>
          </a:p>
        </p:txBody>
      </p:sp>
      <p:sp>
        <p:nvSpPr>
          <p:cNvPr id="7" name="Slide Number Placeholder 6">
            <a:extLst>
              <a:ext uri="{FF2B5EF4-FFF2-40B4-BE49-F238E27FC236}">
                <a16:creationId xmlns:a16="http://schemas.microsoft.com/office/drawing/2014/main" id="{D36E1CED-4A46-4451-9E15-5D0C2E6246B5}"/>
              </a:ext>
            </a:extLst>
          </p:cNvPr>
          <p:cNvSpPr>
            <a:spLocks noGrp="1"/>
          </p:cNvSpPr>
          <p:nvPr>
            <p:ph type="sldNum" sz="quarter" idx="12"/>
          </p:nvPr>
        </p:nvSpPr>
        <p:spPr/>
        <p:txBody>
          <a:bodyPr/>
          <a:lstStyle/>
          <a:p>
            <a:fld id="{C925F5E2-2F47-4A96-ABD9-8D26218075D9}" type="slidenum">
              <a:rPr lang="en-US" smtClean="0"/>
              <a:t>‹#›</a:t>
            </a:fld>
            <a:endParaRPr lang="en-US"/>
          </a:p>
        </p:txBody>
      </p:sp>
    </p:spTree>
    <p:extLst>
      <p:ext uri="{BB962C8B-B14F-4D97-AF65-F5344CB8AC3E}">
        <p14:creationId xmlns:p14="http://schemas.microsoft.com/office/powerpoint/2010/main" val="17903983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BF08959-FB36-4A0C-8DA7-98AB6CD225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2E0D6F8-5B72-4D4D-BBFF-DEF736A527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954D74-DE57-45A3-B2FE-A3764B9FEE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12-3-2023</a:t>
            </a:r>
          </a:p>
        </p:txBody>
      </p:sp>
      <p:sp>
        <p:nvSpPr>
          <p:cNvPr id="5" name="Footer Placeholder 4">
            <a:extLst>
              <a:ext uri="{FF2B5EF4-FFF2-40B4-BE49-F238E27FC236}">
                <a16:creationId xmlns:a16="http://schemas.microsoft.com/office/drawing/2014/main" id="{4B39DBC4-A8D8-4A79-9AC8-0C303A0D99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Levture 4</a:t>
            </a:r>
          </a:p>
        </p:txBody>
      </p:sp>
      <p:sp>
        <p:nvSpPr>
          <p:cNvPr id="6" name="Slide Number Placeholder 5">
            <a:extLst>
              <a:ext uri="{FF2B5EF4-FFF2-40B4-BE49-F238E27FC236}">
                <a16:creationId xmlns:a16="http://schemas.microsoft.com/office/drawing/2014/main" id="{D922E3A9-A24A-4EC0-818B-1179B0A63C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25F5E2-2F47-4A96-ABD9-8D26218075D9}" type="slidenum">
              <a:rPr lang="en-US" smtClean="0"/>
              <a:t>‹#›</a:t>
            </a:fld>
            <a:endParaRPr lang="en-US"/>
          </a:p>
        </p:txBody>
      </p:sp>
    </p:spTree>
    <p:extLst>
      <p:ext uri="{BB962C8B-B14F-4D97-AF65-F5344CB8AC3E}">
        <p14:creationId xmlns:p14="http://schemas.microsoft.com/office/powerpoint/2010/main" val="313946798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svg"/></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pinterest.com/pin/780670916639009601/"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gif"/><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A3363022-C969-41E9-8EB2-E4C94908C1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D1AD6B3-BE88-4CEB-BA17-790657CC472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E115927-6821-4975-AF26-17BD10AA044E}"/>
              </a:ext>
            </a:extLst>
          </p:cNvPr>
          <p:cNvSpPr>
            <a:spLocks noGrp="1"/>
          </p:cNvSpPr>
          <p:nvPr>
            <p:ph type="ctrTitle"/>
          </p:nvPr>
        </p:nvSpPr>
        <p:spPr>
          <a:xfrm>
            <a:off x="6024444" y="2347592"/>
            <a:ext cx="4805996" cy="1297115"/>
          </a:xfrm>
        </p:spPr>
        <p:txBody>
          <a:bodyPr anchor="t">
            <a:normAutofit/>
          </a:bodyPr>
          <a:lstStyle/>
          <a:p>
            <a:pPr algn="l"/>
            <a:br>
              <a:rPr lang="en-US" sz="2800">
                <a:solidFill>
                  <a:schemeClr val="tx2"/>
                </a:solidFill>
              </a:rPr>
            </a:br>
            <a:r>
              <a:rPr lang="en-US" sz="2800">
                <a:solidFill>
                  <a:schemeClr val="tx2"/>
                </a:solidFill>
              </a:rPr>
              <a:t>Lecture 4:</a:t>
            </a:r>
            <a:br>
              <a:rPr lang="en-US" sz="2800">
                <a:solidFill>
                  <a:schemeClr val="tx2"/>
                </a:solidFill>
              </a:rPr>
            </a:br>
            <a:r>
              <a:rPr lang="en-US" sz="2800">
                <a:solidFill>
                  <a:schemeClr val="tx2"/>
                </a:solidFill>
              </a:rPr>
              <a:t>Information Networks</a:t>
            </a:r>
          </a:p>
        </p:txBody>
      </p:sp>
      <p:pic>
        <p:nvPicPr>
          <p:cNvPr id="6" name="Graphic 5" descr="Social Network">
            <a:extLst>
              <a:ext uri="{FF2B5EF4-FFF2-40B4-BE49-F238E27FC236}">
                <a16:creationId xmlns:a16="http://schemas.microsoft.com/office/drawing/2014/main" id="{1D09666D-10E6-7F2E-F7D1-F4331A32269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0470" y="1815320"/>
            <a:ext cx="4141760" cy="4141760"/>
          </a:xfrm>
          <a:custGeom>
            <a:avLst/>
            <a:gdLst/>
            <a:ahLst/>
            <a:cxnLst/>
            <a:rect l="l" t="t" r="r" b="b"/>
            <a:pathLst>
              <a:path w="4141760" h="4377846">
                <a:moveTo>
                  <a:pt x="0" y="0"/>
                </a:moveTo>
                <a:lnTo>
                  <a:pt x="4141760" y="0"/>
                </a:lnTo>
                <a:lnTo>
                  <a:pt x="4141760" y="4377846"/>
                </a:lnTo>
                <a:lnTo>
                  <a:pt x="0" y="4377846"/>
                </a:lnTo>
                <a:close/>
              </a:path>
            </a:pathLst>
          </a:custGeom>
        </p:spPr>
      </p:pic>
      <p:grpSp>
        <p:nvGrpSpPr>
          <p:cNvPr id="13" name="Group 12">
            <a:extLst>
              <a:ext uri="{FF2B5EF4-FFF2-40B4-BE49-F238E27FC236}">
                <a16:creationId xmlns:a16="http://schemas.microsoft.com/office/drawing/2014/main" id="{89D1390B-7E13-4B4F-9CB2-391063412E5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253" y="-5977"/>
            <a:ext cx="6238675" cy="6863979"/>
            <a:chOff x="305" y="-5977"/>
            <a:chExt cx="6238675" cy="6863979"/>
          </a:xfrm>
        </p:grpSpPr>
        <p:sp>
          <p:nvSpPr>
            <p:cNvPr id="14" name="Freeform: Shape 13">
              <a:extLst>
                <a:ext uri="{FF2B5EF4-FFF2-40B4-BE49-F238E27FC236}">
                  <a16:creationId xmlns:a16="http://schemas.microsoft.com/office/drawing/2014/main" id="{9E720206-AA49-4786-A932-A2650DE0918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305" y="34854"/>
              <a:ext cx="6028697" cy="6817170"/>
            </a:xfrm>
            <a:custGeom>
              <a:avLst/>
              <a:gdLst>
                <a:gd name="connsiteX0" fmla="*/ 6028697 w 6028697"/>
                <a:gd name="connsiteY0" fmla="*/ 6155323 h 6817170"/>
                <a:gd name="connsiteX1" fmla="*/ 6028697 w 6028697"/>
                <a:gd name="connsiteY1" fmla="*/ 6817170 h 6817170"/>
                <a:gd name="connsiteX2" fmla="*/ 5157862 w 6028697"/>
                <a:gd name="connsiteY2" fmla="*/ 6817170 h 6817170"/>
                <a:gd name="connsiteX3" fmla="*/ 5347156 w 6028697"/>
                <a:gd name="connsiteY3" fmla="*/ 6687553 h 6817170"/>
                <a:gd name="connsiteX4" fmla="*/ 5487470 w 6028697"/>
                <a:gd name="connsiteY4" fmla="*/ 6581714 h 6817170"/>
                <a:gd name="connsiteX5" fmla="*/ 5627642 w 6028697"/>
                <a:gd name="connsiteY5" fmla="*/ 6472328 h 6817170"/>
                <a:gd name="connsiteX6" fmla="*/ 5911392 w 6028697"/>
                <a:gd name="connsiteY6" fmla="*/ 6245328 h 6817170"/>
                <a:gd name="connsiteX7" fmla="*/ 4481066 w 6028697"/>
                <a:gd name="connsiteY7" fmla="*/ 478 h 6817170"/>
                <a:gd name="connsiteX8" fmla="*/ 4672258 w 6028697"/>
                <a:gd name="connsiteY8" fmla="*/ 7519 h 6817170"/>
                <a:gd name="connsiteX9" fmla="*/ 5429869 w 6028697"/>
                <a:gd name="connsiteY9" fmla="*/ 125134 h 6817170"/>
                <a:gd name="connsiteX10" fmla="*/ 5976319 w 6028697"/>
                <a:gd name="connsiteY10" fmla="*/ 314893 h 6817170"/>
                <a:gd name="connsiteX11" fmla="*/ 6028697 w 6028697"/>
                <a:gd name="connsiteY11" fmla="*/ 339901 h 6817170"/>
                <a:gd name="connsiteX12" fmla="*/ 6028697 w 6028697"/>
                <a:gd name="connsiteY12" fmla="*/ 732458 h 6817170"/>
                <a:gd name="connsiteX13" fmla="*/ 5990985 w 6028697"/>
                <a:gd name="connsiteY13" fmla="*/ 712211 h 6817170"/>
                <a:gd name="connsiteX14" fmla="*/ 5341339 w 6028697"/>
                <a:gd name="connsiteY14" fmla="*/ 475281 h 6817170"/>
                <a:gd name="connsiteX15" fmla="*/ 4651969 w 6028697"/>
                <a:gd name="connsiteY15" fmla="*/ 377104 h 6817170"/>
                <a:gd name="connsiteX16" fmla="*/ 3953093 w 6028697"/>
                <a:gd name="connsiteY16" fmla="*/ 402498 h 6817170"/>
                <a:gd name="connsiteX17" fmla="*/ 3267413 w 6028697"/>
                <a:gd name="connsiteY17" fmla="*/ 546643 h 6817170"/>
                <a:gd name="connsiteX18" fmla="*/ 1439498 w 6028697"/>
                <a:gd name="connsiteY18" fmla="*/ 1568141 h 6817170"/>
                <a:gd name="connsiteX19" fmla="*/ 960671 w 6028697"/>
                <a:gd name="connsiteY19" fmla="*/ 2082013 h 6817170"/>
                <a:gd name="connsiteX20" fmla="*/ 581866 w 6028697"/>
                <a:gd name="connsiteY20" fmla="*/ 2672638 h 6817170"/>
                <a:gd name="connsiteX21" fmla="*/ 324789 w 6028697"/>
                <a:gd name="connsiteY21" fmla="*/ 3325262 h 6817170"/>
                <a:gd name="connsiteX22" fmla="*/ 231151 w 6028697"/>
                <a:gd name="connsiteY22" fmla="*/ 4022292 h 6817170"/>
                <a:gd name="connsiteX23" fmla="*/ 270592 w 6028697"/>
                <a:gd name="connsiteY23" fmla="*/ 4362792 h 6817170"/>
                <a:gd name="connsiteX24" fmla="*/ 387213 w 6028697"/>
                <a:gd name="connsiteY24" fmla="*/ 4681585 h 6817170"/>
                <a:gd name="connsiteX25" fmla="*/ 468507 w 6028697"/>
                <a:gd name="connsiteY25" fmla="*/ 4831546 h 6817170"/>
                <a:gd name="connsiteX26" fmla="*/ 561862 w 6028697"/>
                <a:gd name="connsiteY26" fmla="*/ 4976826 h 6817170"/>
                <a:gd name="connsiteX27" fmla="*/ 777511 w 6028697"/>
                <a:gd name="connsiteY27" fmla="*/ 5257597 h 6817170"/>
                <a:gd name="connsiteX28" fmla="*/ 1010895 w 6028697"/>
                <a:gd name="connsiteY28" fmla="*/ 5540494 h 6817170"/>
                <a:gd name="connsiteX29" fmla="*/ 1126948 w 6028697"/>
                <a:gd name="connsiteY29" fmla="*/ 5688186 h 6817170"/>
                <a:gd name="connsiteX30" fmla="*/ 1182706 w 6028697"/>
                <a:gd name="connsiteY30" fmla="*/ 5760543 h 6817170"/>
                <a:gd name="connsiteX31" fmla="*/ 1237327 w 6028697"/>
                <a:gd name="connsiteY31" fmla="*/ 5830060 h 6817170"/>
                <a:gd name="connsiteX32" fmla="*/ 1706649 w 6028697"/>
                <a:gd name="connsiteY32" fmla="*/ 6342797 h 6817170"/>
                <a:gd name="connsiteX33" fmla="*/ 1956207 w 6028697"/>
                <a:gd name="connsiteY33" fmla="*/ 6573484 h 6817170"/>
                <a:gd name="connsiteX34" fmla="*/ 2217681 w 6028697"/>
                <a:gd name="connsiteY34" fmla="*/ 6786297 h 6817170"/>
                <a:gd name="connsiteX35" fmla="*/ 2260820 w 6028697"/>
                <a:gd name="connsiteY35" fmla="*/ 6817170 h 6817170"/>
                <a:gd name="connsiteX36" fmla="*/ 1429497 w 6028697"/>
                <a:gd name="connsiteY36" fmla="*/ 6817170 h 6817170"/>
                <a:gd name="connsiteX37" fmla="*/ 1327275 w 6028697"/>
                <a:gd name="connsiteY37" fmla="*/ 6713800 h 6817170"/>
                <a:gd name="connsiteX38" fmla="*/ 1080556 w 6028697"/>
                <a:gd name="connsiteY38" fmla="*/ 6414443 h 6817170"/>
                <a:gd name="connsiteX39" fmla="*/ 865189 w 6028697"/>
                <a:gd name="connsiteY39" fmla="*/ 6097496 h 6817170"/>
                <a:gd name="connsiteX40" fmla="*/ 814823 w 6028697"/>
                <a:gd name="connsiteY40" fmla="*/ 6016911 h 6817170"/>
                <a:gd name="connsiteX41" fmla="*/ 766729 w 6028697"/>
                <a:gd name="connsiteY41" fmla="*/ 5938453 h 6817170"/>
                <a:gd name="connsiteX42" fmla="*/ 671672 w 6028697"/>
                <a:gd name="connsiteY42" fmla="*/ 5786648 h 6817170"/>
                <a:gd name="connsiteX43" fmla="*/ 474608 w 6028697"/>
                <a:gd name="connsiteY43" fmla="*/ 5474664 h 6817170"/>
                <a:gd name="connsiteX44" fmla="*/ 282652 w 6028697"/>
                <a:gd name="connsiteY44" fmla="*/ 5146508 h 6817170"/>
                <a:gd name="connsiteX45" fmla="*/ 196108 w 6028697"/>
                <a:gd name="connsiteY45" fmla="*/ 4972712 h 6817170"/>
                <a:gd name="connsiteX46" fmla="*/ 122474 w 6028697"/>
                <a:gd name="connsiteY46" fmla="*/ 4791821 h 6817170"/>
                <a:gd name="connsiteX47" fmla="*/ 65724 w 6028697"/>
                <a:gd name="connsiteY47" fmla="*/ 4603129 h 6817170"/>
                <a:gd name="connsiteX48" fmla="*/ 44727 w 6028697"/>
                <a:gd name="connsiteY48" fmla="*/ 4506937 h 6817170"/>
                <a:gd name="connsiteX49" fmla="*/ 35505 w 6028697"/>
                <a:gd name="connsiteY49" fmla="*/ 4458699 h 6817170"/>
                <a:gd name="connsiteX50" fmla="*/ 27845 w 6028697"/>
                <a:gd name="connsiteY50" fmla="*/ 4410320 h 6817170"/>
                <a:gd name="connsiteX51" fmla="*/ 37 w 6028697"/>
                <a:gd name="connsiteY51" fmla="*/ 4022292 h 6817170"/>
                <a:gd name="connsiteX52" fmla="*/ 78777 w 6028697"/>
                <a:gd name="connsiteY52" fmla="*/ 3267236 h 6817170"/>
                <a:gd name="connsiteX53" fmla="*/ 315424 w 6028697"/>
                <a:gd name="connsiteY53" fmla="*/ 2543673 h 6817170"/>
                <a:gd name="connsiteX54" fmla="*/ 1202710 w 6028697"/>
                <a:gd name="connsiteY54" fmla="*/ 1314895 h 6817170"/>
                <a:gd name="connsiteX55" fmla="*/ 1791065 w 6028697"/>
                <a:gd name="connsiteY55" fmla="*/ 833514 h 6817170"/>
                <a:gd name="connsiteX56" fmla="*/ 3908404 w 6028697"/>
                <a:gd name="connsiteY56" fmla="*/ 29794 h 6817170"/>
                <a:gd name="connsiteX57" fmla="*/ 4481066 w 6028697"/>
                <a:gd name="connsiteY57" fmla="*/ 478 h 681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6028697" h="6817170">
                  <a:moveTo>
                    <a:pt x="6028697" y="6155323"/>
                  </a:moveTo>
                  <a:lnTo>
                    <a:pt x="6028697" y="6817170"/>
                  </a:lnTo>
                  <a:lnTo>
                    <a:pt x="5157862" y="6817170"/>
                  </a:lnTo>
                  <a:lnTo>
                    <a:pt x="5347156" y="6687553"/>
                  </a:lnTo>
                  <a:cubicBezTo>
                    <a:pt x="5394117" y="6653219"/>
                    <a:pt x="5440793" y="6617608"/>
                    <a:pt x="5487470" y="6581714"/>
                  </a:cubicBezTo>
                  <a:cubicBezTo>
                    <a:pt x="5534147" y="6545820"/>
                    <a:pt x="5580966" y="6509358"/>
                    <a:pt x="5627642" y="6472328"/>
                  </a:cubicBezTo>
                  <a:lnTo>
                    <a:pt x="5911392" y="6245328"/>
                  </a:lnTo>
                  <a:close/>
                  <a:moveTo>
                    <a:pt x="4481066" y="478"/>
                  </a:moveTo>
                  <a:cubicBezTo>
                    <a:pt x="4544817" y="1422"/>
                    <a:pt x="4608563" y="3769"/>
                    <a:pt x="4672258" y="7519"/>
                  </a:cubicBezTo>
                  <a:cubicBezTo>
                    <a:pt x="4927973" y="22364"/>
                    <a:pt x="5181687" y="61751"/>
                    <a:pt x="5429869" y="125134"/>
                  </a:cubicBezTo>
                  <a:cubicBezTo>
                    <a:pt x="5617090" y="173104"/>
                    <a:pt x="5799867" y="236595"/>
                    <a:pt x="5976319" y="314893"/>
                  </a:cubicBezTo>
                  <a:lnTo>
                    <a:pt x="6028697" y="339901"/>
                  </a:lnTo>
                  <a:lnTo>
                    <a:pt x="6028697" y="732458"/>
                  </a:lnTo>
                  <a:lnTo>
                    <a:pt x="5990985" y="712211"/>
                  </a:lnTo>
                  <a:cubicBezTo>
                    <a:pt x="5783917" y="609342"/>
                    <a:pt x="5566013" y="529876"/>
                    <a:pt x="5341339" y="475281"/>
                  </a:cubicBezTo>
                  <a:cubicBezTo>
                    <a:pt x="5115233" y="420503"/>
                    <a:pt x="4884375" y="387624"/>
                    <a:pt x="4651969" y="377104"/>
                  </a:cubicBezTo>
                  <a:cubicBezTo>
                    <a:pt x="4418713" y="365171"/>
                    <a:pt x="4184861" y="373670"/>
                    <a:pt x="3953093" y="402498"/>
                  </a:cubicBezTo>
                  <a:cubicBezTo>
                    <a:pt x="3721001" y="431832"/>
                    <a:pt x="3491675" y="480040"/>
                    <a:pt x="3267413" y="546643"/>
                  </a:cubicBezTo>
                  <a:cubicBezTo>
                    <a:pt x="2591323" y="750761"/>
                    <a:pt x="1967642" y="1099289"/>
                    <a:pt x="1439498" y="1568141"/>
                  </a:cubicBezTo>
                  <a:cubicBezTo>
                    <a:pt x="1265589" y="1725523"/>
                    <a:pt x="1105393" y="1897434"/>
                    <a:pt x="960671" y="2082013"/>
                  </a:cubicBezTo>
                  <a:cubicBezTo>
                    <a:pt x="815775" y="2266294"/>
                    <a:pt x="688923" y="2464081"/>
                    <a:pt x="581866" y="2672638"/>
                  </a:cubicBezTo>
                  <a:cubicBezTo>
                    <a:pt x="473765" y="2880669"/>
                    <a:pt x="387610" y="3099397"/>
                    <a:pt x="324789" y="3325262"/>
                  </a:cubicBezTo>
                  <a:cubicBezTo>
                    <a:pt x="262714" y="3552403"/>
                    <a:pt x="231223" y="3786822"/>
                    <a:pt x="231151" y="4022292"/>
                  </a:cubicBezTo>
                  <a:cubicBezTo>
                    <a:pt x="231413" y="4136912"/>
                    <a:pt x="244645" y="4251136"/>
                    <a:pt x="270592" y="4362792"/>
                  </a:cubicBezTo>
                  <a:cubicBezTo>
                    <a:pt x="297885" y="4472943"/>
                    <a:pt x="336983" y="4579833"/>
                    <a:pt x="387213" y="4681585"/>
                  </a:cubicBezTo>
                  <a:cubicBezTo>
                    <a:pt x="412042" y="4732517"/>
                    <a:pt x="439423" y="4782457"/>
                    <a:pt x="468507" y="4831546"/>
                  </a:cubicBezTo>
                  <a:cubicBezTo>
                    <a:pt x="497591" y="4880636"/>
                    <a:pt x="529230" y="4929015"/>
                    <a:pt x="561862" y="4976826"/>
                  </a:cubicBezTo>
                  <a:cubicBezTo>
                    <a:pt x="627975" y="5072166"/>
                    <a:pt x="701466" y="5164668"/>
                    <a:pt x="777511" y="5257597"/>
                  </a:cubicBezTo>
                  <a:cubicBezTo>
                    <a:pt x="853556" y="5350524"/>
                    <a:pt x="933574" y="5443594"/>
                    <a:pt x="1010895" y="5540494"/>
                  </a:cubicBezTo>
                  <a:cubicBezTo>
                    <a:pt x="1049957" y="5588732"/>
                    <a:pt x="1088642" y="5637963"/>
                    <a:pt x="1126948" y="5688186"/>
                  </a:cubicBezTo>
                  <a:lnTo>
                    <a:pt x="1182706" y="5760543"/>
                  </a:lnTo>
                  <a:cubicBezTo>
                    <a:pt x="1201007" y="5783669"/>
                    <a:pt x="1218458" y="5807503"/>
                    <a:pt x="1237327" y="5830060"/>
                  </a:cubicBezTo>
                  <a:cubicBezTo>
                    <a:pt x="1383714" y="6009916"/>
                    <a:pt x="1540413" y="6181116"/>
                    <a:pt x="1706649" y="6342797"/>
                  </a:cubicBezTo>
                  <a:cubicBezTo>
                    <a:pt x="1788084" y="6422531"/>
                    <a:pt x="1871265" y="6499427"/>
                    <a:pt x="1956207" y="6573484"/>
                  </a:cubicBezTo>
                  <a:cubicBezTo>
                    <a:pt x="2041332" y="6647402"/>
                    <a:pt x="2127733" y="6718907"/>
                    <a:pt x="2217681" y="6786297"/>
                  </a:cubicBezTo>
                  <a:lnTo>
                    <a:pt x="2260820" y="6817170"/>
                  </a:lnTo>
                  <a:lnTo>
                    <a:pt x="1429497" y="6817170"/>
                  </a:lnTo>
                  <a:lnTo>
                    <a:pt x="1327275" y="6713800"/>
                  </a:lnTo>
                  <a:cubicBezTo>
                    <a:pt x="1239186" y="6618984"/>
                    <a:pt x="1156797" y="6519019"/>
                    <a:pt x="1080556" y="6414443"/>
                  </a:cubicBezTo>
                  <a:cubicBezTo>
                    <a:pt x="1004653" y="6310734"/>
                    <a:pt x="932439" y="6205177"/>
                    <a:pt x="865189" y="6097496"/>
                  </a:cubicBezTo>
                  <a:cubicBezTo>
                    <a:pt x="847881" y="6070823"/>
                    <a:pt x="831565" y="6043725"/>
                    <a:pt x="814823" y="6016911"/>
                  </a:cubicBezTo>
                  <a:lnTo>
                    <a:pt x="766729" y="5938453"/>
                  </a:lnTo>
                  <a:cubicBezTo>
                    <a:pt x="735941" y="5887947"/>
                    <a:pt x="703878" y="5837581"/>
                    <a:pt x="671672" y="5786648"/>
                  </a:cubicBezTo>
                  <a:lnTo>
                    <a:pt x="474608" y="5474664"/>
                  </a:lnTo>
                  <a:cubicBezTo>
                    <a:pt x="408778" y="5368968"/>
                    <a:pt x="343516" y="5260008"/>
                    <a:pt x="282652" y="5146508"/>
                  </a:cubicBezTo>
                  <a:cubicBezTo>
                    <a:pt x="252290" y="5089759"/>
                    <a:pt x="223065" y="5032015"/>
                    <a:pt x="196108" y="4972712"/>
                  </a:cubicBezTo>
                  <a:cubicBezTo>
                    <a:pt x="169152" y="4913408"/>
                    <a:pt x="144607" y="4853111"/>
                    <a:pt x="122474" y="4791821"/>
                  </a:cubicBezTo>
                  <a:cubicBezTo>
                    <a:pt x="100342" y="4730532"/>
                    <a:pt x="81757" y="4666830"/>
                    <a:pt x="65724" y="4603129"/>
                  </a:cubicBezTo>
                  <a:cubicBezTo>
                    <a:pt x="58205" y="4571064"/>
                    <a:pt x="50828" y="4539143"/>
                    <a:pt x="44727" y="4506937"/>
                  </a:cubicBezTo>
                  <a:lnTo>
                    <a:pt x="35505" y="4458699"/>
                  </a:lnTo>
                  <a:lnTo>
                    <a:pt x="27845" y="4410320"/>
                  </a:lnTo>
                  <a:cubicBezTo>
                    <a:pt x="8635" y="4281881"/>
                    <a:pt x="-661" y="4152150"/>
                    <a:pt x="37" y="4022292"/>
                  </a:cubicBezTo>
                  <a:cubicBezTo>
                    <a:pt x="712" y="3768592"/>
                    <a:pt x="27094" y="3515615"/>
                    <a:pt x="78777" y="3267236"/>
                  </a:cubicBezTo>
                  <a:cubicBezTo>
                    <a:pt x="130048" y="3017876"/>
                    <a:pt x="209439" y="2775142"/>
                    <a:pt x="315424" y="2543673"/>
                  </a:cubicBezTo>
                  <a:cubicBezTo>
                    <a:pt x="528236" y="2081161"/>
                    <a:pt x="838234" y="1667312"/>
                    <a:pt x="1202710" y="1314895"/>
                  </a:cubicBezTo>
                  <a:cubicBezTo>
                    <a:pt x="1385514" y="1138814"/>
                    <a:pt x="1582282" y="977831"/>
                    <a:pt x="1791065" y="833514"/>
                  </a:cubicBezTo>
                  <a:cubicBezTo>
                    <a:pt x="2420037" y="395614"/>
                    <a:pt x="3147288" y="119557"/>
                    <a:pt x="3908404" y="29794"/>
                  </a:cubicBezTo>
                  <a:cubicBezTo>
                    <a:pt x="4098509" y="7429"/>
                    <a:pt x="4289811" y="-2355"/>
                    <a:pt x="4481066" y="478"/>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Freeform: Shape 14">
              <a:extLst>
                <a:ext uri="{FF2B5EF4-FFF2-40B4-BE49-F238E27FC236}">
                  <a16:creationId xmlns:a16="http://schemas.microsoft.com/office/drawing/2014/main" id="{C72F6EE6-EDE9-45A5-8F6D-02B9B7CB2C2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305" y="1"/>
              <a:ext cx="6165116" cy="6858001"/>
            </a:xfrm>
            <a:custGeom>
              <a:avLst/>
              <a:gdLst>
                <a:gd name="connsiteX0" fmla="*/ 6264586 w 6264586"/>
                <a:gd name="connsiteY0" fmla="*/ 6646464 h 6858001"/>
                <a:gd name="connsiteX1" fmla="*/ 6264586 w 6264586"/>
                <a:gd name="connsiteY1" fmla="*/ 6858001 h 6858001"/>
                <a:gd name="connsiteX2" fmla="*/ 5997170 w 6264586"/>
                <a:gd name="connsiteY2" fmla="*/ 6858001 h 6858001"/>
                <a:gd name="connsiteX3" fmla="*/ 6121512 w 6264586"/>
                <a:gd name="connsiteY3" fmla="*/ 6761029 h 6858001"/>
                <a:gd name="connsiteX4" fmla="*/ 2693206 w 6264586"/>
                <a:gd name="connsiteY4" fmla="*/ 0 h 6858001"/>
                <a:gd name="connsiteX5" fmla="*/ 5872285 w 6264586"/>
                <a:gd name="connsiteY5" fmla="*/ 0 h 6858001"/>
                <a:gd name="connsiteX6" fmla="*/ 6024875 w 6264586"/>
                <a:gd name="connsiteY6" fmla="*/ 68385 h 6858001"/>
                <a:gd name="connsiteX7" fmla="*/ 6206432 w 6264586"/>
                <a:gd name="connsiteY7" fmla="*/ 162336 h 6858001"/>
                <a:gd name="connsiteX8" fmla="*/ 6264586 w 6264586"/>
                <a:gd name="connsiteY8" fmla="*/ 196704 h 6858001"/>
                <a:gd name="connsiteX9" fmla="*/ 6264586 w 6264586"/>
                <a:gd name="connsiteY9" fmla="*/ 537242 h 6858001"/>
                <a:gd name="connsiteX10" fmla="*/ 6230189 w 6264586"/>
                <a:gd name="connsiteY10" fmla="*/ 517260 h 6858001"/>
                <a:gd name="connsiteX11" fmla="*/ 5540536 w 6264586"/>
                <a:gd name="connsiteY11" fmla="*/ 249543 h 6858001"/>
                <a:gd name="connsiteX12" fmla="*/ 5178896 w 6264586"/>
                <a:gd name="connsiteY12" fmla="*/ 178606 h 6858001"/>
                <a:gd name="connsiteX13" fmla="*/ 4814279 w 6264586"/>
                <a:gd name="connsiteY13" fmla="*/ 146683 h 6858001"/>
                <a:gd name="connsiteX14" fmla="*/ 4655095 w 6264586"/>
                <a:gd name="connsiteY14" fmla="*/ 143421 h 6858001"/>
                <a:gd name="connsiteX15" fmla="*/ 4081069 w 6264586"/>
                <a:gd name="connsiteY15" fmla="*/ 185983 h 6858001"/>
                <a:gd name="connsiteX16" fmla="*/ 3720566 w 6264586"/>
                <a:gd name="connsiteY16" fmla="*/ 256921 h 6858001"/>
                <a:gd name="connsiteX17" fmla="*/ 3365879 w 6264586"/>
                <a:gd name="connsiteY17" fmla="*/ 357651 h 6858001"/>
                <a:gd name="connsiteX18" fmla="*/ 3020555 w 6264586"/>
                <a:gd name="connsiteY18" fmla="*/ 486190 h 6858001"/>
                <a:gd name="connsiteX19" fmla="*/ 2685163 w 6264586"/>
                <a:gd name="connsiteY19" fmla="*/ 641542 h 6858001"/>
                <a:gd name="connsiteX20" fmla="*/ 2047720 w 6264586"/>
                <a:gd name="connsiteY20" fmla="*/ 1025030 h 6858001"/>
                <a:gd name="connsiteX21" fmla="*/ 1897333 w 6264586"/>
                <a:gd name="connsiteY21" fmla="*/ 1134983 h 6858001"/>
                <a:gd name="connsiteX22" fmla="*/ 1835758 w 6264586"/>
                <a:gd name="connsiteY22" fmla="*/ 1182227 h 6858001"/>
                <a:gd name="connsiteX23" fmla="*/ 1823273 w 6264586"/>
                <a:gd name="connsiteY23" fmla="*/ 1192016 h 6858001"/>
                <a:gd name="connsiteX24" fmla="*/ 1750918 w 6264586"/>
                <a:gd name="connsiteY24" fmla="*/ 1249760 h 6858001"/>
                <a:gd name="connsiteX25" fmla="*/ 1469297 w 6264586"/>
                <a:gd name="connsiteY25" fmla="*/ 1496906 h 6858001"/>
                <a:gd name="connsiteX26" fmla="*/ 967769 w 6264586"/>
                <a:gd name="connsiteY26" fmla="*/ 2056602 h 6858001"/>
                <a:gd name="connsiteX27" fmla="*/ 754105 w 6264586"/>
                <a:gd name="connsiteY27" fmla="*/ 2368727 h 6858001"/>
                <a:gd name="connsiteX28" fmla="*/ 572364 w 6264586"/>
                <a:gd name="connsiteY28" fmla="*/ 2701140 h 6858001"/>
                <a:gd name="connsiteX29" fmla="*/ 532497 w 6264586"/>
                <a:gd name="connsiteY29" fmla="*/ 2786265 h 6858001"/>
                <a:gd name="connsiteX30" fmla="*/ 512918 w 6264586"/>
                <a:gd name="connsiteY30" fmla="*/ 2828827 h 6858001"/>
                <a:gd name="connsiteX31" fmla="*/ 494475 w 6264586"/>
                <a:gd name="connsiteY31" fmla="*/ 2872240 h 6858001"/>
                <a:gd name="connsiteX32" fmla="*/ 491637 w 6264586"/>
                <a:gd name="connsiteY32" fmla="*/ 2878908 h 6858001"/>
                <a:gd name="connsiteX33" fmla="*/ 459290 w 6264586"/>
                <a:gd name="connsiteY33" fmla="*/ 2959635 h 6858001"/>
                <a:gd name="connsiteX34" fmla="*/ 446805 w 6264586"/>
                <a:gd name="connsiteY34" fmla="*/ 2992408 h 6858001"/>
                <a:gd name="connsiteX35" fmla="*/ 426090 w 6264586"/>
                <a:gd name="connsiteY35" fmla="*/ 3049158 h 6858001"/>
                <a:gd name="connsiteX36" fmla="*/ 426090 w 6264586"/>
                <a:gd name="connsiteY36" fmla="*/ 3049867 h 6858001"/>
                <a:gd name="connsiteX37" fmla="*/ 318124 w 6264586"/>
                <a:gd name="connsiteY37" fmla="*/ 3414202 h 6858001"/>
                <a:gd name="connsiteX38" fmla="*/ 230729 w 6264586"/>
                <a:gd name="connsiteY38" fmla="*/ 4169260 h 6858001"/>
                <a:gd name="connsiteX39" fmla="*/ 268893 w 6264586"/>
                <a:gd name="connsiteY39" fmla="*/ 4544236 h 6858001"/>
                <a:gd name="connsiteX40" fmla="*/ 379840 w 6264586"/>
                <a:gd name="connsiteY40" fmla="*/ 4900056 h 6858001"/>
                <a:gd name="connsiteX41" fmla="*/ 406512 w 6264586"/>
                <a:gd name="connsiteY41" fmla="*/ 4960211 h 6858001"/>
                <a:gd name="connsiteX42" fmla="*/ 417862 w 6264586"/>
                <a:gd name="connsiteY42" fmla="*/ 4984613 h 6858001"/>
                <a:gd name="connsiteX43" fmla="*/ 428077 w 6264586"/>
                <a:gd name="connsiteY43" fmla="*/ 5005043 h 6858001"/>
                <a:gd name="connsiteX44" fmla="*/ 460140 w 6264586"/>
                <a:gd name="connsiteY44" fmla="*/ 5067327 h 6858001"/>
                <a:gd name="connsiteX45" fmla="*/ 555197 w 6264586"/>
                <a:gd name="connsiteY45" fmla="*/ 5229773 h 6858001"/>
                <a:gd name="connsiteX46" fmla="*/ 660611 w 6264586"/>
                <a:gd name="connsiteY46" fmla="*/ 5387396 h 6858001"/>
                <a:gd name="connsiteX47" fmla="*/ 774110 w 6264586"/>
                <a:gd name="connsiteY47" fmla="*/ 5542182 h 6858001"/>
                <a:gd name="connsiteX48" fmla="*/ 917829 w 6264586"/>
                <a:gd name="connsiteY48" fmla="*/ 5727896 h 6858001"/>
                <a:gd name="connsiteX49" fmla="*/ 1012885 w 6264586"/>
                <a:gd name="connsiteY49" fmla="*/ 5849767 h 6858001"/>
                <a:gd name="connsiteX50" fmla="*/ 1133053 w 6264586"/>
                <a:gd name="connsiteY50" fmla="*/ 6006822 h 6858001"/>
                <a:gd name="connsiteX51" fmla="*/ 1194343 w 6264586"/>
                <a:gd name="connsiteY51" fmla="*/ 6090245 h 6858001"/>
                <a:gd name="connsiteX52" fmla="*/ 1249390 w 6264586"/>
                <a:gd name="connsiteY52" fmla="*/ 6165155 h 6858001"/>
                <a:gd name="connsiteX53" fmla="*/ 1345724 w 6264586"/>
                <a:gd name="connsiteY53" fmla="*/ 6292132 h 6858001"/>
                <a:gd name="connsiteX54" fmla="*/ 1364310 w 6264586"/>
                <a:gd name="connsiteY54" fmla="*/ 6316251 h 6858001"/>
                <a:gd name="connsiteX55" fmla="*/ 1373673 w 6264586"/>
                <a:gd name="connsiteY55" fmla="*/ 6327885 h 6858001"/>
                <a:gd name="connsiteX56" fmla="*/ 1484619 w 6264586"/>
                <a:gd name="connsiteY56" fmla="*/ 6462240 h 6858001"/>
                <a:gd name="connsiteX57" fmla="*/ 1739000 w 6264586"/>
                <a:gd name="connsiteY57" fmla="*/ 6737335 h 6858001"/>
                <a:gd name="connsiteX58" fmla="*/ 1866801 w 6264586"/>
                <a:gd name="connsiteY58" fmla="*/ 6858001 h 6858001"/>
                <a:gd name="connsiteX59" fmla="*/ 1144149 w 6264586"/>
                <a:gd name="connsiteY59" fmla="*/ 6858001 h 6858001"/>
                <a:gd name="connsiteX60" fmla="*/ 1058349 w 6264586"/>
                <a:gd name="connsiteY60" fmla="*/ 6766452 h 6858001"/>
                <a:gd name="connsiteX61" fmla="*/ 580309 w 6264586"/>
                <a:gd name="connsiteY61" fmla="*/ 6105000 h 6858001"/>
                <a:gd name="connsiteX62" fmla="*/ 1 w 6264586"/>
                <a:gd name="connsiteY62" fmla="*/ 3960094 h 6858001"/>
                <a:gd name="connsiteX63" fmla="*/ 2599292 w 6264586"/>
                <a:gd name="connsiteY63" fmla="*/ 3705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264586" h="6858001">
                  <a:moveTo>
                    <a:pt x="6264586" y="6646464"/>
                  </a:moveTo>
                  <a:lnTo>
                    <a:pt x="6264586" y="6858001"/>
                  </a:lnTo>
                  <a:lnTo>
                    <a:pt x="5997170" y="6858001"/>
                  </a:lnTo>
                  <a:lnTo>
                    <a:pt x="6121512" y="6761029"/>
                  </a:lnTo>
                  <a:close/>
                  <a:moveTo>
                    <a:pt x="2693206" y="0"/>
                  </a:moveTo>
                  <a:lnTo>
                    <a:pt x="5872285" y="0"/>
                  </a:lnTo>
                  <a:lnTo>
                    <a:pt x="6024875" y="68385"/>
                  </a:lnTo>
                  <a:cubicBezTo>
                    <a:pt x="6086250" y="97989"/>
                    <a:pt x="6146793" y="129318"/>
                    <a:pt x="6206432" y="162336"/>
                  </a:cubicBezTo>
                  <a:lnTo>
                    <a:pt x="6264586" y="196704"/>
                  </a:lnTo>
                  <a:lnTo>
                    <a:pt x="6264586" y="537242"/>
                  </a:lnTo>
                  <a:lnTo>
                    <a:pt x="6230189" y="517260"/>
                  </a:lnTo>
                  <a:cubicBezTo>
                    <a:pt x="6012226" y="399931"/>
                    <a:pt x="5780573" y="310008"/>
                    <a:pt x="5540536" y="249543"/>
                  </a:cubicBezTo>
                  <a:cubicBezTo>
                    <a:pt x="5421375" y="219324"/>
                    <a:pt x="5300641" y="195644"/>
                    <a:pt x="5178896" y="178606"/>
                  </a:cubicBezTo>
                  <a:cubicBezTo>
                    <a:pt x="5057977" y="161840"/>
                    <a:pt x="4936276" y="151186"/>
                    <a:pt x="4814279" y="146683"/>
                  </a:cubicBezTo>
                  <a:cubicBezTo>
                    <a:pt x="4761501" y="144556"/>
                    <a:pt x="4708015" y="143421"/>
                    <a:pt x="4655095" y="143421"/>
                  </a:cubicBezTo>
                  <a:cubicBezTo>
                    <a:pt x="4462968" y="143573"/>
                    <a:pt x="4271111" y="157799"/>
                    <a:pt x="4081069" y="185983"/>
                  </a:cubicBezTo>
                  <a:cubicBezTo>
                    <a:pt x="3956361" y="205703"/>
                    <a:pt x="3835058" y="229396"/>
                    <a:pt x="3720566" y="256921"/>
                  </a:cubicBezTo>
                  <a:cubicBezTo>
                    <a:pt x="3596708" y="286714"/>
                    <a:pt x="3477677" y="320905"/>
                    <a:pt x="3365879" y="357651"/>
                  </a:cubicBezTo>
                  <a:cubicBezTo>
                    <a:pt x="3249257" y="395958"/>
                    <a:pt x="3133487" y="438945"/>
                    <a:pt x="3020555" y="486190"/>
                  </a:cubicBezTo>
                  <a:cubicBezTo>
                    <a:pt x="2907623" y="533434"/>
                    <a:pt x="2794832" y="585786"/>
                    <a:pt x="2685163" y="641542"/>
                  </a:cubicBezTo>
                  <a:cubicBezTo>
                    <a:pt x="2463995" y="754348"/>
                    <a:pt x="2250998" y="882488"/>
                    <a:pt x="2047720" y="1025030"/>
                  </a:cubicBezTo>
                  <a:cubicBezTo>
                    <a:pt x="2006151" y="1054399"/>
                    <a:pt x="1951528" y="1093415"/>
                    <a:pt x="1897333" y="1134983"/>
                  </a:cubicBezTo>
                  <a:cubicBezTo>
                    <a:pt x="1876761" y="1150164"/>
                    <a:pt x="1855905" y="1166479"/>
                    <a:pt x="1835758" y="1182227"/>
                  </a:cubicBezTo>
                  <a:lnTo>
                    <a:pt x="1823273" y="1192016"/>
                  </a:lnTo>
                  <a:cubicBezTo>
                    <a:pt x="1797027" y="1211879"/>
                    <a:pt x="1772057" y="1232309"/>
                    <a:pt x="1750918" y="1249760"/>
                  </a:cubicBezTo>
                  <a:cubicBezTo>
                    <a:pt x="1645931" y="1335737"/>
                    <a:pt x="1554422" y="1416605"/>
                    <a:pt x="1469297" y="1496906"/>
                  </a:cubicBezTo>
                  <a:cubicBezTo>
                    <a:pt x="1286595" y="1668957"/>
                    <a:pt x="1118818" y="1856190"/>
                    <a:pt x="967769" y="2056602"/>
                  </a:cubicBezTo>
                  <a:cubicBezTo>
                    <a:pt x="890731" y="2159603"/>
                    <a:pt x="818800" y="2264590"/>
                    <a:pt x="754105" y="2368727"/>
                  </a:cubicBezTo>
                  <a:cubicBezTo>
                    <a:pt x="681749" y="2488328"/>
                    <a:pt x="622304" y="2596720"/>
                    <a:pt x="572364" y="2701140"/>
                  </a:cubicBezTo>
                  <a:cubicBezTo>
                    <a:pt x="557609" y="2730507"/>
                    <a:pt x="543989" y="2760443"/>
                    <a:pt x="532497" y="2786265"/>
                  </a:cubicBezTo>
                  <a:lnTo>
                    <a:pt x="512918" y="2828827"/>
                  </a:lnTo>
                  <a:lnTo>
                    <a:pt x="494475" y="2872240"/>
                  </a:lnTo>
                  <a:lnTo>
                    <a:pt x="491637" y="2878908"/>
                  </a:lnTo>
                  <a:cubicBezTo>
                    <a:pt x="480146" y="2906575"/>
                    <a:pt x="469220" y="2932821"/>
                    <a:pt x="459290" y="2959635"/>
                  </a:cubicBezTo>
                  <a:cubicBezTo>
                    <a:pt x="455176" y="2970559"/>
                    <a:pt x="451060" y="2981484"/>
                    <a:pt x="446805" y="2992408"/>
                  </a:cubicBezTo>
                  <a:cubicBezTo>
                    <a:pt x="439427" y="3012412"/>
                    <a:pt x="432333" y="3030572"/>
                    <a:pt x="426090" y="3049158"/>
                  </a:cubicBezTo>
                  <a:lnTo>
                    <a:pt x="426090" y="3049867"/>
                  </a:lnTo>
                  <a:cubicBezTo>
                    <a:pt x="383010" y="3169099"/>
                    <a:pt x="346959" y="3290756"/>
                    <a:pt x="318124" y="3414202"/>
                  </a:cubicBezTo>
                  <a:cubicBezTo>
                    <a:pt x="260107" y="3661703"/>
                    <a:pt x="230780" y="3915049"/>
                    <a:pt x="230729" y="4169260"/>
                  </a:cubicBezTo>
                  <a:cubicBezTo>
                    <a:pt x="231621" y="4295173"/>
                    <a:pt x="244398" y="4420719"/>
                    <a:pt x="268893" y="4544236"/>
                  </a:cubicBezTo>
                  <a:cubicBezTo>
                    <a:pt x="293708" y="4666304"/>
                    <a:pt x="330882" y="4785521"/>
                    <a:pt x="379840" y="4900056"/>
                  </a:cubicBezTo>
                  <a:cubicBezTo>
                    <a:pt x="387926" y="4919919"/>
                    <a:pt x="397006" y="4939498"/>
                    <a:pt x="406512" y="4960211"/>
                  </a:cubicBezTo>
                  <a:cubicBezTo>
                    <a:pt x="410343" y="4968299"/>
                    <a:pt x="414173" y="4976385"/>
                    <a:pt x="417862" y="4984613"/>
                  </a:cubicBezTo>
                  <a:lnTo>
                    <a:pt x="428077" y="5005043"/>
                  </a:lnTo>
                  <a:cubicBezTo>
                    <a:pt x="438860" y="5026751"/>
                    <a:pt x="449075" y="5047181"/>
                    <a:pt x="460140" y="5067327"/>
                  </a:cubicBezTo>
                  <a:cubicBezTo>
                    <a:pt x="485536" y="5116273"/>
                    <a:pt x="514763" y="5165789"/>
                    <a:pt x="555197" y="5229773"/>
                  </a:cubicBezTo>
                  <a:cubicBezTo>
                    <a:pt x="586836" y="5280282"/>
                    <a:pt x="620318" y="5329511"/>
                    <a:pt x="660611" y="5387396"/>
                  </a:cubicBezTo>
                  <a:cubicBezTo>
                    <a:pt x="698065" y="5440741"/>
                    <a:pt x="737223" y="5493094"/>
                    <a:pt x="774110" y="5542182"/>
                  </a:cubicBezTo>
                  <a:cubicBezTo>
                    <a:pt x="821070" y="5604324"/>
                    <a:pt x="870301" y="5667173"/>
                    <a:pt x="917829" y="5727896"/>
                  </a:cubicBezTo>
                  <a:cubicBezTo>
                    <a:pt x="949042" y="5767762"/>
                    <a:pt x="979828" y="5807063"/>
                    <a:pt x="1012885" y="5849767"/>
                  </a:cubicBezTo>
                  <a:cubicBezTo>
                    <a:pt x="1045942" y="5892471"/>
                    <a:pt x="1089497" y="5948796"/>
                    <a:pt x="1133053" y="6006822"/>
                  </a:cubicBezTo>
                  <a:cubicBezTo>
                    <a:pt x="1153624" y="6034345"/>
                    <a:pt x="1175332" y="6063998"/>
                    <a:pt x="1194343" y="6090245"/>
                  </a:cubicBezTo>
                  <a:cubicBezTo>
                    <a:pt x="1213355" y="6116491"/>
                    <a:pt x="1231372" y="6141178"/>
                    <a:pt x="1249390" y="6165155"/>
                  </a:cubicBezTo>
                  <a:cubicBezTo>
                    <a:pt x="1280461" y="6208000"/>
                    <a:pt x="1313659" y="6250847"/>
                    <a:pt x="1345724" y="6292132"/>
                  </a:cubicBezTo>
                  <a:lnTo>
                    <a:pt x="1364310" y="6316251"/>
                  </a:lnTo>
                  <a:lnTo>
                    <a:pt x="1373673" y="6327885"/>
                  </a:lnTo>
                  <a:cubicBezTo>
                    <a:pt x="1409566" y="6372433"/>
                    <a:pt x="1446738" y="6418542"/>
                    <a:pt x="1484619" y="6462240"/>
                  </a:cubicBezTo>
                  <a:cubicBezTo>
                    <a:pt x="1567899" y="6559850"/>
                    <a:pt x="1653876" y="6652211"/>
                    <a:pt x="1739000" y="6737335"/>
                  </a:cubicBezTo>
                  <a:lnTo>
                    <a:pt x="1866801" y="6858001"/>
                  </a:lnTo>
                  <a:lnTo>
                    <a:pt x="1144149" y="6858001"/>
                  </a:lnTo>
                  <a:lnTo>
                    <a:pt x="1058349" y="6766452"/>
                  </a:lnTo>
                  <a:cubicBezTo>
                    <a:pt x="878978" y="6562465"/>
                    <a:pt x="718756" y="6341104"/>
                    <a:pt x="580309" y="6105000"/>
                  </a:cubicBezTo>
                  <a:cubicBezTo>
                    <a:pt x="200401" y="5454007"/>
                    <a:pt x="146" y="4713831"/>
                    <a:pt x="1" y="3960094"/>
                  </a:cubicBezTo>
                  <a:cubicBezTo>
                    <a:pt x="-335" y="2196754"/>
                    <a:pt x="1071479" y="683605"/>
                    <a:pt x="2599292" y="3705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Freeform: Shape 15">
              <a:extLst>
                <a:ext uri="{FF2B5EF4-FFF2-40B4-BE49-F238E27FC236}">
                  <a16:creationId xmlns:a16="http://schemas.microsoft.com/office/drawing/2014/main" id="{C093DC50-3BD7-46B1-A300-CD207E152FF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305" y="-5977"/>
              <a:ext cx="6238675" cy="6858001"/>
            </a:xfrm>
            <a:custGeom>
              <a:avLst/>
              <a:gdLst>
                <a:gd name="connsiteX0" fmla="*/ 6264586 w 6264586"/>
                <a:gd name="connsiteY0" fmla="*/ 6646464 h 6858001"/>
                <a:gd name="connsiteX1" fmla="*/ 6264586 w 6264586"/>
                <a:gd name="connsiteY1" fmla="*/ 6858001 h 6858001"/>
                <a:gd name="connsiteX2" fmla="*/ 5997170 w 6264586"/>
                <a:gd name="connsiteY2" fmla="*/ 6858001 h 6858001"/>
                <a:gd name="connsiteX3" fmla="*/ 6121512 w 6264586"/>
                <a:gd name="connsiteY3" fmla="*/ 6761029 h 6858001"/>
                <a:gd name="connsiteX4" fmla="*/ 2693206 w 6264586"/>
                <a:gd name="connsiteY4" fmla="*/ 0 h 6858001"/>
                <a:gd name="connsiteX5" fmla="*/ 5872285 w 6264586"/>
                <a:gd name="connsiteY5" fmla="*/ 0 h 6858001"/>
                <a:gd name="connsiteX6" fmla="*/ 6024875 w 6264586"/>
                <a:gd name="connsiteY6" fmla="*/ 68385 h 6858001"/>
                <a:gd name="connsiteX7" fmla="*/ 6206432 w 6264586"/>
                <a:gd name="connsiteY7" fmla="*/ 162336 h 6858001"/>
                <a:gd name="connsiteX8" fmla="*/ 6264586 w 6264586"/>
                <a:gd name="connsiteY8" fmla="*/ 196704 h 6858001"/>
                <a:gd name="connsiteX9" fmla="*/ 6264586 w 6264586"/>
                <a:gd name="connsiteY9" fmla="*/ 537242 h 6858001"/>
                <a:gd name="connsiteX10" fmla="*/ 6230189 w 6264586"/>
                <a:gd name="connsiteY10" fmla="*/ 517260 h 6858001"/>
                <a:gd name="connsiteX11" fmla="*/ 5540536 w 6264586"/>
                <a:gd name="connsiteY11" fmla="*/ 249543 h 6858001"/>
                <a:gd name="connsiteX12" fmla="*/ 5178896 w 6264586"/>
                <a:gd name="connsiteY12" fmla="*/ 178606 h 6858001"/>
                <a:gd name="connsiteX13" fmla="*/ 4814279 w 6264586"/>
                <a:gd name="connsiteY13" fmla="*/ 146683 h 6858001"/>
                <a:gd name="connsiteX14" fmla="*/ 4655095 w 6264586"/>
                <a:gd name="connsiteY14" fmla="*/ 143421 h 6858001"/>
                <a:gd name="connsiteX15" fmla="*/ 4081069 w 6264586"/>
                <a:gd name="connsiteY15" fmla="*/ 185983 h 6858001"/>
                <a:gd name="connsiteX16" fmla="*/ 3720566 w 6264586"/>
                <a:gd name="connsiteY16" fmla="*/ 256921 h 6858001"/>
                <a:gd name="connsiteX17" fmla="*/ 3365879 w 6264586"/>
                <a:gd name="connsiteY17" fmla="*/ 357651 h 6858001"/>
                <a:gd name="connsiteX18" fmla="*/ 3020555 w 6264586"/>
                <a:gd name="connsiteY18" fmla="*/ 486190 h 6858001"/>
                <a:gd name="connsiteX19" fmla="*/ 2685163 w 6264586"/>
                <a:gd name="connsiteY19" fmla="*/ 641542 h 6858001"/>
                <a:gd name="connsiteX20" fmla="*/ 2047720 w 6264586"/>
                <a:gd name="connsiteY20" fmla="*/ 1025030 h 6858001"/>
                <a:gd name="connsiteX21" fmla="*/ 1897333 w 6264586"/>
                <a:gd name="connsiteY21" fmla="*/ 1134983 h 6858001"/>
                <a:gd name="connsiteX22" fmla="*/ 1835758 w 6264586"/>
                <a:gd name="connsiteY22" fmla="*/ 1182227 h 6858001"/>
                <a:gd name="connsiteX23" fmla="*/ 1823273 w 6264586"/>
                <a:gd name="connsiteY23" fmla="*/ 1192016 h 6858001"/>
                <a:gd name="connsiteX24" fmla="*/ 1750918 w 6264586"/>
                <a:gd name="connsiteY24" fmla="*/ 1249760 h 6858001"/>
                <a:gd name="connsiteX25" fmla="*/ 1469297 w 6264586"/>
                <a:gd name="connsiteY25" fmla="*/ 1496906 h 6858001"/>
                <a:gd name="connsiteX26" fmla="*/ 967769 w 6264586"/>
                <a:gd name="connsiteY26" fmla="*/ 2056602 h 6858001"/>
                <a:gd name="connsiteX27" fmla="*/ 754105 w 6264586"/>
                <a:gd name="connsiteY27" fmla="*/ 2368727 h 6858001"/>
                <a:gd name="connsiteX28" fmla="*/ 572364 w 6264586"/>
                <a:gd name="connsiteY28" fmla="*/ 2701140 h 6858001"/>
                <a:gd name="connsiteX29" fmla="*/ 532497 w 6264586"/>
                <a:gd name="connsiteY29" fmla="*/ 2786265 h 6858001"/>
                <a:gd name="connsiteX30" fmla="*/ 512918 w 6264586"/>
                <a:gd name="connsiteY30" fmla="*/ 2828827 h 6858001"/>
                <a:gd name="connsiteX31" fmla="*/ 494475 w 6264586"/>
                <a:gd name="connsiteY31" fmla="*/ 2872240 h 6858001"/>
                <a:gd name="connsiteX32" fmla="*/ 491637 w 6264586"/>
                <a:gd name="connsiteY32" fmla="*/ 2878908 h 6858001"/>
                <a:gd name="connsiteX33" fmla="*/ 459290 w 6264586"/>
                <a:gd name="connsiteY33" fmla="*/ 2959635 h 6858001"/>
                <a:gd name="connsiteX34" fmla="*/ 446805 w 6264586"/>
                <a:gd name="connsiteY34" fmla="*/ 2992408 h 6858001"/>
                <a:gd name="connsiteX35" fmla="*/ 426090 w 6264586"/>
                <a:gd name="connsiteY35" fmla="*/ 3049158 h 6858001"/>
                <a:gd name="connsiteX36" fmla="*/ 426090 w 6264586"/>
                <a:gd name="connsiteY36" fmla="*/ 3049867 h 6858001"/>
                <a:gd name="connsiteX37" fmla="*/ 318124 w 6264586"/>
                <a:gd name="connsiteY37" fmla="*/ 3414202 h 6858001"/>
                <a:gd name="connsiteX38" fmla="*/ 230729 w 6264586"/>
                <a:gd name="connsiteY38" fmla="*/ 4169260 h 6858001"/>
                <a:gd name="connsiteX39" fmla="*/ 268893 w 6264586"/>
                <a:gd name="connsiteY39" fmla="*/ 4544236 h 6858001"/>
                <a:gd name="connsiteX40" fmla="*/ 379840 w 6264586"/>
                <a:gd name="connsiteY40" fmla="*/ 4900056 h 6858001"/>
                <a:gd name="connsiteX41" fmla="*/ 406512 w 6264586"/>
                <a:gd name="connsiteY41" fmla="*/ 4960211 h 6858001"/>
                <a:gd name="connsiteX42" fmla="*/ 417862 w 6264586"/>
                <a:gd name="connsiteY42" fmla="*/ 4984613 h 6858001"/>
                <a:gd name="connsiteX43" fmla="*/ 428077 w 6264586"/>
                <a:gd name="connsiteY43" fmla="*/ 5005043 h 6858001"/>
                <a:gd name="connsiteX44" fmla="*/ 460140 w 6264586"/>
                <a:gd name="connsiteY44" fmla="*/ 5067327 h 6858001"/>
                <a:gd name="connsiteX45" fmla="*/ 555197 w 6264586"/>
                <a:gd name="connsiteY45" fmla="*/ 5229773 h 6858001"/>
                <a:gd name="connsiteX46" fmla="*/ 660611 w 6264586"/>
                <a:gd name="connsiteY46" fmla="*/ 5387396 h 6858001"/>
                <a:gd name="connsiteX47" fmla="*/ 774110 w 6264586"/>
                <a:gd name="connsiteY47" fmla="*/ 5542182 h 6858001"/>
                <a:gd name="connsiteX48" fmla="*/ 917829 w 6264586"/>
                <a:gd name="connsiteY48" fmla="*/ 5727896 h 6858001"/>
                <a:gd name="connsiteX49" fmla="*/ 1012885 w 6264586"/>
                <a:gd name="connsiteY49" fmla="*/ 5849767 h 6858001"/>
                <a:gd name="connsiteX50" fmla="*/ 1133053 w 6264586"/>
                <a:gd name="connsiteY50" fmla="*/ 6006822 h 6858001"/>
                <a:gd name="connsiteX51" fmla="*/ 1194343 w 6264586"/>
                <a:gd name="connsiteY51" fmla="*/ 6090245 h 6858001"/>
                <a:gd name="connsiteX52" fmla="*/ 1249390 w 6264586"/>
                <a:gd name="connsiteY52" fmla="*/ 6165155 h 6858001"/>
                <a:gd name="connsiteX53" fmla="*/ 1345724 w 6264586"/>
                <a:gd name="connsiteY53" fmla="*/ 6292132 h 6858001"/>
                <a:gd name="connsiteX54" fmla="*/ 1364310 w 6264586"/>
                <a:gd name="connsiteY54" fmla="*/ 6316251 h 6858001"/>
                <a:gd name="connsiteX55" fmla="*/ 1373673 w 6264586"/>
                <a:gd name="connsiteY55" fmla="*/ 6327885 h 6858001"/>
                <a:gd name="connsiteX56" fmla="*/ 1484619 w 6264586"/>
                <a:gd name="connsiteY56" fmla="*/ 6462240 h 6858001"/>
                <a:gd name="connsiteX57" fmla="*/ 1739000 w 6264586"/>
                <a:gd name="connsiteY57" fmla="*/ 6737335 h 6858001"/>
                <a:gd name="connsiteX58" fmla="*/ 1866801 w 6264586"/>
                <a:gd name="connsiteY58" fmla="*/ 6858001 h 6858001"/>
                <a:gd name="connsiteX59" fmla="*/ 1144149 w 6264586"/>
                <a:gd name="connsiteY59" fmla="*/ 6858001 h 6858001"/>
                <a:gd name="connsiteX60" fmla="*/ 1058349 w 6264586"/>
                <a:gd name="connsiteY60" fmla="*/ 6766452 h 6858001"/>
                <a:gd name="connsiteX61" fmla="*/ 580309 w 6264586"/>
                <a:gd name="connsiteY61" fmla="*/ 6105000 h 6858001"/>
                <a:gd name="connsiteX62" fmla="*/ 1 w 6264586"/>
                <a:gd name="connsiteY62" fmla="*/ 3960094 h 6858001"/>
                <a:gd name="connsiteX63" fmla="*/ 2599292 w 6264586"/>
                <a:gd name="connsiteY63" fmla="*/ 3705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6264586" h="6858001">
                  <a:moveTo>
                    <a:pt x="6264586" y="6646464"/>
                  </a:moveTo>
                  <a:lnTo>
                    <a:pt x="6264586" y="6858001"/>
                  </a:lnTo>
                  <a:lnTo>
                    <a:pt x="5997170" y="6858001"/>
                  </a:lnTo>
                  <a:lnTo>
                    <a:pt x="6121512" y="6761029"/>
                  </a:lnTo>
                  <a:close/>
                  <a:moveTo>
                    <a:pt x="2693206" y="0"/>
                  </a:moveTo>
                  <a:lnTo>
                    <a:pt x="5872285" y="0"/>
                  </a:lnTo>
                  <a:lnTo>
                    <a:pt x="6024875" y="68385"/>
                  </a:lnTo>
                  <a:cubicBezTo>
                    <a:pt x="6086250" y="97989"/>
                    <a:pt x="6146793" y="129318"/>
                    <a:pt x="6206432" y="162336"/>
                  </a:cubicBezTo>
                  <a:lnTo>
                    <a:pt x="6264586" y="196704"/>
                  </a:lnTo>
                  <a:lnTo>
                    <a:pt x="6264586" y="537242"/>
                  </a:lnTo>
                  <a:lnTo>
                    <a:pt x="6230189" y="517260"/>
                  </a:lnTo>
                  <a:cubicBezTo>
                    <a:pt x="6012226" y="399931"/>
                    <a:pt x="5780573" y="310008"/>
                    <a:pt x="5540536" y="249543"/>
                  </a:cubicBezTo>
                  <a:cubicBezTo>
                    <a:pt x="5421375" y="219324"/>
                    <a:pt x="5300641" y="195644"/>
                    <a:pt x="5178896" y="178606"/>
                  </a:cubicBezTo>
                  <a:cubicBezTo>
                    <a:pt x="5057977" y="161840"/>
                    <a:pt x="4936276" y="151186"/>
                    <a:pt x="4814279" y="146683"/>
                  </a:cubicBezTo>
                  <a:cubicBezTo>
                    <a:pt x="4761501" y="144556"/>
                    <a:pt x="4708015" y="143421"/>
                    <a:pt x="4655095" y="143421"/>
                  </a:cubicBezTo>
                  <a:cubicBezTo>
                    <a:pt x="4462968" y="143573"/>
                    <a:pt x="4271111" y="157799"/>
                    <a:pt x="4081069" y="185983"/>
                  </a:cubicBezTo>
                  <a:cubicBezTo>
                    <a:pt x="3956361" y="205703"/>
                    <a:pt x="3835058" y="229396"/>
                    <a:pt x="3720566" y="256921"/>
                  </a:cubicBezTo>
                  <a:cubicBezTo>
                    <a:pt x="3596708" y="286714"/>
                    <a:pt x="3477677" y="320905"/>
                    <a:pt x="3365879" y="357651"/>
                  </a:cubicBezTo>
                  <a:cubicBezTo>
                    <a:pt x="3249257" y="395958"/>
                    <a:pt x="3133487" y="438945"/>
                    <a:pt x="3020555" y="486190"/>
                  </a:cubicBezTo>
                  <a:cubicBezTo>
                    <a:pt x="2907623" y="533434"/>
                    <a:pt x="2794832" y="585786"/>
                    <a:pt x="2685163" y="641542"/>
                  </a:cubicBezTo>
                  <a:cubicBezTo>
                    <a:pt x="2463995" y="754348"/>
                    <a:pt x="2250998" y="882488"/>
                    <a:pt x="2047720" y="1025030"/>
                  </a:cubicBezTo>
                  <a:cubicBezTo>
                    <a:pt x="2006151" y="1054399"/>
                    <a:pt x="1951528" y="1093415"/>
                    <a:pt x="1897333" y="1134983"/>
                  </a:cubicBezTo>
                  <a:cubicBezTo>
                    <a:pt x="1876761" y="1150164"/>
                    <a:pt x="1855905" y="1166479"/>
                    <a:pt x="1835758" y="1182227"/>
                  </a:cubicBezTo>
                  <a:lnTo>
                    <a:pt x="1823273" y="1192016"/>
                  </a:lnTo>
                  <a:cubicBezTo>
                    <a:pt x="1797027" y="1211879"/>
                    <a:pt x="1772057" y="1232309"/>
                    <a:pt x="1750918" y="1249760"/>
                  </a:cubicBezTo>
                  <a:cubicBezTo>
                    <a:pt x="1645931" y="1335737"/>
                    <a:pt x="1554422" y="1416605"/>
                    <a:pt x="1469297" y="1496906"/>
                  </a:cubicBezTo>
                  <a:cubicBezTo>
                    <a:pt x="1286595" y="1668957"/>
                    <a:pt x="1118818" y="1856190"/>
                    <a:pt x="967769" y="2056602"/>
                  </a:cubicBezTo>
                  <a:cubicBezTo>
                    <a:pt x="890731" y="2159603"/>
                    <a:pt x="818800" y="2264590"/>
                    <a:pt x="754105" y="2368727"/>
                  </a:cubicBezTo>
                  <a:cubicBezTo>
                    <a:pt x="681749" y="2488328"/>
                    <a:pt x="622304" y="2596720"/>
                    <a:pt x="572364" y="2701140"/>
                  </a:cubicBezTo>
                  <a:cubicBezTo>
                    <a:pt x="557609" y="2730507"/>
                    <a:pt x="543989" y="2760443"/>
                    <a:pt x="532497" y="2786265"/>
                  </a:cubicBezTo>
                  <a:lnTo>
                    <a:pt x="512918" y="2828827"/>
                  </a:lnTo>
                  <a:lnTo>
                    <a:pt x="494475" y="2872240"/>
                  </a:lnTo>
                  <a:lnTo>
                    <a:pt x="491637" y="2878908"/>
                  </a:lnTo>
                  <a:cubicBezTo>
                    <a:pt x="480146" y="2906575"/>
                    <a:pt x="469220" y="2932821"/>
                    <a:pt x="459290" y="2959635"/>
                  </a:cubicBezTo>
                  <a:cubicBezTo>
                    <a:pt x="455176" y="2970559"/>
                    <a:pt x="451060" y="2981484"/>
                    <a:pt x="446805" y="2992408"/>
                  </a:cubicBezTo>
                  <a:cubicBezTo>
                    <a:pt x="439427" y="3012412"/>
                    <a:pt x="432333" y="3030572"/>
                    <a:pt x="426090" y="3049158"/>
                  </a:cubicBezTo>
                  <a:lnTo>
                    <a:pt x="426090" y="3049867"/>
                  </a:lnTo>
                  <a:cubicBezTo>
                    <a:pt x="383010" y="3169099"/>
                    <a:pt x="346959" y="3290756"/>
                    <a:pt x="318124" y="3414202"/>
                  </a:cubicBezTo>
                  <a:cubicBezTo>
                    <a:pt x="260107" y="3661703"/>
                    <a:pt x="230780" y="3915049"/>
                    <a:pt x="230729" y="4169260"/>
                  </a:cubicBezTo>
                  <a:cubicBezTo>
                    <a:pt x="231621" y="4295173"/>
                    <a:pt x="244398" y="4420719"/>
                    <a:pt x="268893" y="4544236"/>
                  </a:cubicBezTo>
                  <a:cubicBezTo>
                    <a:pt x="293708" y="4666304"/>
                    <a:pt x="330882" y="4785521"/>
                    <a:pt x="379840" y="4900056"/>
                  </a:cubicBezTo>
                  <a:cubicBezTo>
                    <a:pt x="387926" y="4919919"/>
                    <a:pt x="397006" y="4939498"/>
                    <a:pt x="406512" y="4960211"/>
                  </a:cubicBezTo>
                  <a:cubicBezTo>
                    <a:pt x="410343" y="4968299"/>
                    <a:pt x="414173" y="4976385"/>
                    <a:pt x="417862" y="4984613"/>
                  </a:cubicBezTo>
                  <a:lnTo>
                    <a:pt x="428077" y="5005043"/>
                  </a:lnTo>
                  <a:cubicBezTo>
                    <a:pt x="438860" y="5026751"/>
                    <a:pt x="449075" y="5047181"/>
                    <a:pt x="460140" y="5067327"/>
                  </a:cubicBezTo>
                  <a:cubicBezTo>
                    <a:pt x="485536" y="5116273"/>
                    <a:pt x="514763" y="5165789"/>
                    <a:pt x="555197" y="5229773"/>
                  </a:cubicBezTo>
                  <a:cubicBezTo>
                    <a:pt x="586836" y="5280282"/>
                    <a:pt x="620318" y="5329511"/>
                    <a:pt x="660611" y="5387396"/>
                  </a:cubicBezTo>
                  <a:cubicBezTo>
                    <a:pt x="698065" y="5440741"/>
                    <a:pt x="737223" y="5493094"/>
                    <a:pt x="774110" y="5542182"/>
                  </a:cubicBezTo>
                  <a:cubicBezTo>
                    <a:pt x="821070" y="5604324"/>
                    <a:pt x="870301" y="5667173"/>
                    <a:pt x="917829" y="5727896"/>
                  </a:cubicBezTo>
                  <a:cubicBezTo>
                    <a:pt x="949042" y="5767762"/>
                    <a:pt x="979828" y="5807063"/>
                    <a:pt x="1012885" y="5849767"/>
                  </a:cubicBezTo>
                  <a:cubicBezTo>
                    <a:pt x="1045942" y="5892471"/>
                    <a:pt x="1089497" y="5948796"/>
                    <a:pt x="1133053" y="6006822"/>
                  </a:cubicBezTo>
                  <a:cubicBezTo>
                    <a:pt x="1153624" y="6034345"/>
                    <a:pt x="1175332" y="6063998"/>
                    <a:pt x="1194343" y="6090245"/>
                  </a:cubicBezTo>
                  <a:cubicBezTo>
                    <a:pt x="1213355" y="6116491"/>
                    <a:pt x="1231372" y="6141178"/>
                    <a:pt x="1249390" y="6165155"/>
                  </a:cubicBezTo>
                  <a:cubicBezTo>
                    <a:pt x="1280461" y="6208000"/>
                    <a:pt x="1313659" y="6250847"/>
                    <a:pt x="1345724" y="6292132"/>
                  </a:cubicBezTo>
                  <a:lnTo>
                    <a:pt x="1364310" y="6316251"/>
                  </a:lnTo>
                  <a:lnTo>
                    <a:pt x="1373673" y="6327885"/>
                  </a:lnTo>
                  <a:cubicBezTo>
                    <a:pt x="1409566" y="6372433"/>
                    <a:pt x="1446738" y="6418542"/>
                    <a:pt x="1484619" y="6462240"/>
                  </a:cubicBezTo>
                  <a:cubicBezTo>
                    <a:pt x="1567899" y="6559850"/>
                    <a:pt x="1653876" y="6652211"/>
                    <a:pt x="1739000" y="6737335"/>
                  </a:cubicBezTo>
                  <a:lnTo>
                    <a:pt x="1866801" y="6858001"/>
                  </a:lnTo>
                  <a:lnTo>
                    <a:pt x="1144149" y="6858001"/>
                  </a:lnTo>
                  <a:lnTo>
                    <a:pt x="1058349" y="6766452"/>
                  </a:lnTo>
                  <a:cubicBezTo>
                    <a:pt x="878978" y="6562465"/>
                    <a:pt x="718756" y="6341104"/>
                    <a:pt x="580309" y="6105000"/>
                  </a:cubicBezTo>
                  <a:cubicBezTo>
                    <a:pt x="200401" y="5454007"/>
                    <a:pt x="146" y="4713831"/>
                    <a:pt x="1" y="3960094"/>
                  </a:cubicBezTo>
                  <a:cubicBezTo>
                    <a:pt x="-335" y="2196754"/>
                    <a:pt x="1071479" y="683605"/>
                    <a:pt x="2599292" y="37050"/>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Date Placeholder 2">
            <a:extLst>
              <a:ext uri="{FF2B5EF4-FFF2-40B4-BE49-F238E27FC236}">
                <a16:creationId xmlns:a16="http://schemas.microsoft.com/office/drawing/2014/main" id="{4E9D365B-C448-BC5B-60C3-6A162D624191}"/>
              </a:ext>
            </a:extLst>
          </p:cNvPr>
          <p:cNvSpPr>
            <a:spLocks noGrp="1"/>
          </p:cNvSpPr>
          <p:nvPr>
            <p:ph type="dt" sz="half" idx="10"/>
          </p:nvPr>
        </p:nvSpPr>
        <p:spPr/>
        <p:txBody>
          <a:bodyPr/>
          <a:lstStyle/>
          <a:p>
            <a:r>
              <a:rPr lang="en-US"/>
              <a:t>12-3-2023</a:t>
            </a:r>
          </a:p>
        </p:txBody>
      </p:sp>
      <p:sp>
        <p:nvSpPr>
          <p:cNvPr id="4" name="Footer Placeholder 3">
            <a:extLst>
              <a:ext uri="{FF2B5EF4-FFF2-40B4-BE49-F238E27FC236}">
                <a16:creationId xmlns:a16="http://schemas.microsoft.com/office/drawing/2014/main" id="{431E3E03-9B35-3EB1-3744-F1430EF6768F}"/>
              </a:ext>
            </a:extLst>
          </p:cNvPr>
          <p:cNvSpPr>
            <a:spLocks noGrp="1"/>
          </p:cNvSpPr>
          <p:nvPr>
            <p:ph type="ftr" sz="quarter" idx="11"/>
          </p:nvPr>
        </p:nvSpPr>
        <p:spPr/>
        <p:txBody>
          <a:bodyPr/>
          <a:lstStyle/>
          <a:p>
            <a:r>
              <a:rPr lang="en-US"/>
              <a:t>Levture 4</a:t>
            </a:r>
          </a:p>
        </p:txBody>
      </p:sp>
      <p:sp>
        <p:nvSpPr>
          <p:cNvPr id="5" name="Slide Number Placeholder 4">
            <a:extLst>
              <a:ext uri="{FF2B5EF4-FFF2-40B4-BE49-F238E27FC236}">
                <a16:creationId xmlns:a16="http://schemas.microsoft.com/office/drawing/2014/main" id="{CA36EB03-0024-1C25-20ED-227D44A4C88B}"/>
              </a:ext>
            </a:extLst>
          </p:cNvPr>
          <p:cNvSpPr>
            <a:spLocks noGrp="1"/>
          </p:cNvSpPr>
          <p:nvPr>
            <p:ph type="sldNum" sz="quarter" idx="12"/>
          </p:nvPr>
        </p:nvSpPr>
        <p:spPr/>
        <p:txBody>
          <a:bodyPr/>
          <a:lstStyle/>
          <a:p>
            <a:fld id="{C925F5E2-2F47-4A96-ABD9-8D26218075D9}" type="slidenum">
              <a:rPr lang="en-US" smtClean="0"/>
              <a:t>1</a:t>
            </a:fld>
            <a:endParaRPr lang="en-US"/>
          </a:p>
        </p:txBody>
      </p:sp>
    </p:spTree>
    <p:extLst>
      <p:ext uri="{BB962C8B-B14F-4D97-AF65-F5344CB8AC3E}">
        <p14:creationId xmlns:p14="http://schemas.microsoft.com/office/powerpoint/2010/main" val="27661851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A7108-5237-44C9-AE87-179A7533F342}"/>
              </a:ext>
            </a:extLst>
          </p:cNvPr>
          <p:cNvSpPr>
            <a:spLocks noGrp="1"/>
          </p:cNvSpPr>
          <p:nvPr>
            <p:ph type="title"/>
          </p:nvPr>
        </p:nvSpPr>
        <p:spPr/>
        <p:txBody>
          <a:bodyPr/>
          <a:lstStyle/>
          <a:p>
            <a:r>
              <a:rPr lang="en-US" dirty="0"/>
              <a:t>Analog / digital </a:t>
            </a:r>
          </a:p>
        </p:txBody>
      </p:sp>
      <p:sp>
        <p:nvSpPr>
          <p:cNvPr id="3" name="Content Placeholder 2">
            <a:extLst>
              <a:ext uri="{FF2B5EF4-FFF2-40B4-BE49-F238E27FC236}">
                <a16:creationId xmlns:a16="http://schemas.microsoft.com/office/drawing/2014/main" id="{7FD32190-F8EC-49DB-8B6D-14325108DEBB}"/>
              </a:ext>
            </a:extLst>
          </p:cNvPr>
          <p:cNvSpPr>
            <a:spLocks noGrp="1"/>
          </p:cNvSpPr>
          <p:nvPr>
            <p:ph idx="1"/>
          </p:nvPr>
        </p:nvSpPr>
        <p:spPr>
          <a:xfrm>
            <a:off x="838200" y="1573869"/>
            <a:ext cx="10515600" cy="4351338"/>
          </a:xfrm>
        </p:spPr>
        <p:txBody>
          <a:bodyPr/>
          <a:lstStyle/>
          <a:p>
            <a:r>
              <a:rPr lang="en-US" b="1" dirty="0"/>
              <a:t>Analogue signals </a:t>
            </a:r>
            <a:r>
              <a:rPr lang="en-US" dirty="0"/>
              <a:t>is one which varies continuously as, for example, in ordinary speech </a:t>
            </a:r>
          </a:p>
          <a:p>
            <a:r>
              <a:rPr lang="en-US" b="1" dirty="0"/>
              <a:t>Digital Signals:</a:t>
            </a:r>
            <a:r>
              <a:rPr lang="en-US" dirty="0"/>
              <a:t> are two state signals corresponding to a switch which is on or off. The same two</a:t>
            </a:r>
            <a:br>
              <a:rPr lang="en-US" dirty="0"/>
            </a:br>
            <a:r>
              <a:rPr lang="en-US" dirty="0"/>
              <a:t>state signal can also represent TRUE and FALSE or 1 and 0. </a:t>
            </a:r>
            <a:br>
              <a:rPr lang="en-US" dirty="0"/>
            </a:br>
            <a:br>
              <a:rPr lang="en-US" dirty="0"/>
            </a:br>
            <a:r>
              <a:rPr lang="en-US" dirty="0"/>
              <a:t> </a:t>
            </a:r>
            <a:br>
              <a:rPr lang="en-US" dirty="0"/>
            </a:br>
            <a:endParaRPr lang="en-US" dirty="0"/>
          </a:p>
        </p:txBody>
      </p:sp>
      <p:pic>
        <p:nvPicPr>
          <p:cNvPr id="2050" name="Picture 2" descr="Difference between Analog and Digital Signal - Analog Signals, Digital  Signals and FAQs">
            <a:extLst>
              <a:ext uri="{FF2B5EF4-FFF2-40B4-BE49-F238E27FC236}">
                <a16:creationId xmlns:a16="http://schemas.microsoft.com/office/drawing/2014/main" id="{5E5430C2-EB43-4C9B-9055-6BA05CC247D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125"/>
          <a:stretch/>
        </p:blipFill>
        <p:spPr bwMode="auto">
          <a:xfrm>
            <a:off x="1746356" y="3707579"/>
            <a:ext cx="8443216" cy="3153103"/>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6F5AAE27-595C-330C-EAA2-99043E64275F}"/>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6A7935BB-077A-FE6C-B698-5C0CD44DC077}"/>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70A7177A-398F-AD18-C5D0-F5A7C5540F5A}"/>
              </a:ext>
            </a:extLst>
          </p:cNvPr>
          <p:cNvSpPr>
            <a:spLocks noGrp="1"/>
          </p:cNvSpPr>
          <p:nvPr>
            <p:ph type="sldNum" sz="quarter" idx="12"/>
          </p:nvPr>
        </p:nvSpPr>
        <p:spPr/>
        <p:txBody>
          <a:bodyPr/>
          <a:lstStyle/>
          <a:p>
            <a:fld id="{C925F5E2-2F47-4A96-ABD9-8D26218075D9}" type="slidenum">
              <a:rPr lang="en-US" smtClean="0"/>
              <a:t>10</a:t>
            </a:fld>
            <a:endParaRPr lang="en-US"/>
          </a:p>
        </p:txBody>
      </p:sp>
    </p:spTree>
    <p:extLst>
      <p:ext uri="{BB962C8B-B14F-4D97-AF65-F5344CB8AC3E}">
        <p14:creationId xmlns:p14="http://schemas.microsoft.com/office/powerpoint/2010/main" val="380249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5070A-F493-40D2-AFF4-77CE8BD09814}"/>
              </a:ext>
            </a:extLst>
          </p:cNvPr>
          <p:cNvSpPr>
            <a:spLocks noGrp="1"/>
          </p:cNvSpPr>
          <p:nvPr>
            <p:ph type="title"/>
          </p:nvPr>
        </p:nvSpPr>
        <p:spPr>
          <a:xfrm>
            <a:off x="898632" y="722476"/>
            <a:ext cx="10765221" cy="1190406"/>
          </a:xfrm>
        </p:spPr>
        <p:txBody>
          <a:bodyPr>
            <a:normAutofit fontScale="90000"/>
          </a:bodyPr>
          <a:lstStyle/>
          <a:p>
            <a:r>
              <a:rPr lang="en-US" sz="2800" dirty="0"/>
              <a:t>A </a:t>
            </a:r>
            <a:r>
              <a:rPr lang="en-US" sz="2800" b="1" dirty="0"/>
              <a:t>modem </a:t>
            </a:r>
            <a:r>
              <a:rPr lang="en-US" sz="2800" dirty="0"/>
              <a:t>or </a:t>
            </a:r>
            <a:r>
              <a:rPr lang="en-US" sz="2800" b="1" dirty="0"/>
              <a:t>modulator-demodulator </a:t>
            </a:r>
            <a:r>
              <a:rPr lang="en-US" sz="2800" dirty="0"/>
              <a:t>is a device connected between a computer and a telephone line. Its function is to convert the digital signals of the computer into a form suitable for transmission over a telephone line. </a:t>
            </a:r>
            <a:br>
              <a:rPr lang="en-US" dirty="0"/>
            </a:br>
            <a:endParaRPr lang="en-US" dirty="0"/>
          </a:p>
        </p:txBody>
      </p:sp>
      <p:pic>
        <p:nvPicPr>
          <p:cNvPr id="3074" name="Picture 2" descr="1 Port Fiber Optical Network Unit 10/100/1000M Fiber Router Modem">
            <a:extLst>
              <a:ext uri="{FF2B5EF4-FFF2-40B4-BE49-F238E27FC236}">
                <a16:creationId xmlns:a16="http://schemas.microsoft.com/office/drawing/2014/main" id="{037B34E1-3DD4-434F-8597-460EA41A0B0F}"/>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08991" y="1912882"/>
            <a:ext cx="3951890" cy="395189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Definition of Modem and its Types in Computer Networks - misnia.com">
            <a:extLst>
              <a:ext uri="{FF2B5EF4-FFF2-40B4-BE49-F238E27FC236}">
                <a16:creationId xmlns:a16="http://schemas.microsoft.com/office/drawing/2014/main" id="{4CD46F68-F1FF-4C2A-8C5C-C2A225362C9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8008" y="1912882"/>
            <a:ext cx="5347855" cy="4056994"/>
          </a:xfrm>
          <a:prstGeom prst="rect">
            <a:avLst/>
          </a:prstGeom>
          <a:noFill/>
          <a:extLst>
            <a:ext uri="{909E8E84-426E-40DD-AFC4-6F175D3DCCD1}">
              <a14:hiddenFill xmlns:a14="http://schemas.microsoft.com/office/drawing/2010/main">
                <a:solidFill>
                  <a:srgbClr val="FFFFFF"/>
                </a:solidFill>
              </a14:hiddenFill>
            </a:ext>
          </a:extLst>
        </p:spPr>
      </p:pic>
      <p:sp>
        <p:nvSpPr>
          <p:cNvPr id="3" name="Date Placeholder 2">
            <a:extLst>
              <a:ext uri="{FF2B5EF4-FFF2-40B4-BE49-F238E27FC236}">
                <a16:creationId xmlns:a16="http://schemas.microsoft.com/office/drawing/2014/main" id="{D0C8859E-2429-8C05-F2B4-929243A6B70A}"/>
              </a:ext>
            </a:extLst>
          </p:cNvPr>
          <p:cNvSpPr>
            <a:spLocks noGrp="1"/>
          </p:cNvSpPr>
          <p:nvPr>
            <p:ph type="dt" sz="half" idx="10"/>
          </p:nvPr>
        </p:nvSpPr>
        <p:spPr/>
        <p:txBody>
          <a:bodyPr/>
          <a:lstStyle/>
          <a:p>
            <a:r>
              <a:rPr lang="en-US"/>
              <a:t>12-3-2023</a:t>
            </a:r>
          </a:p>
        </p:txBody>
      </p:sp>
      <p:sp>
        <p:nvSpPr>
          <p:cNvPr id="4" name="Footer Placeholder 3">
            <a:extLst>
              <a:ext uri="{FF2B5EF4-FFF2-40B4-BE49-F238E27FC236}">
                <a16:creationId xmlns:a16="http://schemas.microsoft.com/office/drawing/2014/main" id="{0319CF41-4C8B-EC6E-7053-FBC81F29C326}"/>
              </a:ext>
            </a:extLst>
          </p:cNvPr>
          <p:cNvSpPr>
            <a:spLocks noGrp="1"/>
          </p:cNvSpPr>
          <p:nvPr>
            <p:ph type="ftr" sz="quarter" idx="11"/>
          </p:nvPr>
        </p:nvSpPr>
        <p:spPr/>
        <p:txBody>
          <a:bodyPr/>
          <a:lstStyle/>
          <a:p>
            <a:r>
              <a:rPr lang="en-US"/>
              <a:t>Levture 4</a:t>
            </a:r>
          </a:p>
        </p:txBody>
      </p:sp>
      <p:sp>
        <p:nvSpPr>
          <p:cNvPr id="5" name="Slide Number Placeholder 4">
            <a:extLst>
              <a:ext uri="{FF2B5EF4-FFF2-40B4-BE49-F238E27FC236}">
                <a16:creationId xmlns:a16="http://schemas.microsoft.com/office/drawing/2014/main" id="{F8054921-0BE5-7311-8888-109D0E129B51}"/>
              </a:ext>
            </a:extLst>
          </p:cNvPr>
          <p:cNvSpPr>
            <a:spLocks noGrp="1"/>
          </p:cNvSpPr>
          <p:nvPr>
            <p:ph type="sldNum" sz="quarter" idx="12"/>
          </p:nvPr>
        </p:nvSpPr>
        <p:spPr/>
        <p:txBody>
          <a:bodyPr/>
          <a:lstStyle/>
          <a:p>
            <a:fld id="{C925F5E2-2F47-4A96-ABD9-8D26218075D9}" type="slidenum">
              <a:rPr lang="en-US" smtClean="0"/>
              <a:t>11</a:t>
            </a:fld>
            <a:endParaRPr lang="en-US"/>
          </a:p>
        </p:txBody>
      </p:sp>
    </p:spTree>
    <p:extLst>
      <p:ext uri="{BB962C8B-B14F-4D97-AF65-F5344CB8AC3E}">
        <p14:creationId xmlns:p14="http://schemas.microsoft.com/office/powerpoint/2010/main" val="2956922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77F44-2845-4873-9F3E-CEDBAA321C8F}"/>
              </a:ext>
            </a:extLst>
          </p:cNvPr>
          <p:cNvSpPr>
            <a:spLocks noGrp="1"/>
          </p:cNvSpPr>
          <p:nvPr>
            <p:ph type="title"/>
          </p:nvPr>
        </p:nvSpPr>
        <p:spPr/>
        <p:txBody>
          <a:bodyPr/>
          <a:lstStyle/>
          <a:p>
            <a:r>
              <a:rPr lang="en-US" b="1" dirty="0"/>
              <a:t>Data Transfer Rates</a:t>
            </a:r>
          </a:p>
        </p:txBody>
      </p:sp>
      <p:sp>
        <p:nvSpPr>
          <p:cNvPr id="3" name="Content Placeholder 2">
            <a:extLst>
              <a:ext uri="{FF2B5EF4-FFF2-40B4-BE49-F238E27FC236}">
                <a16:creationId xmlns:a16="http://schemas.microsoft.com/office/drawing/2014/main" id="{1E9049FF-49BB-4931-9CF7-5258C81A6052}"/>
              </a:ext>
            </a:extLst>
          </p:cNvPr>
          <p:cNvSpPr>
            <a:spLocks noGrp="1"/>
          </p:cNvSpPr>
          <p:nvPr>
            <p:ph idx="1"/>
          </p:nvPr>
        </p:nvSpPr>
        <p:spPr>
          <a:xfrm>
            <a:off x="838200" y="1825625"/>
            <a:ext cx="6061184" cy="4627563"/>
          </a:xfrm>
        </p:spPr>
        <p:txBody>
          <a:bodyPr/>
          <a:lstStyle/>
          <a:p>
            <a:r>
              <a:rPr lang="en-US" dirty="0"/>
              <a:t>speed is measured in kbps or Mbps or Gbps</a:t>
            </a:r>
            <a:br>
              <a:rPr lang="en-US" dirty="0"/>
            </a:br>
            <a:r>
              <a:rPr lang="en-US" dirty="0"/>
              <a:t>1 kbps = 1 000 bps</a:t>
            </a:r>
            <a:br>
              <a:rPr lang="en-US" dirty="0"/>
            </a:br>
            <a:r>
              <a:rPr lang="en-US" dirty="0"/>
              <a:t>1 Mbps = 1 000 000 bps </a:t>
            </a:r>
          </a:p>
          <a:p>
            <a:r>
              <a:rPr lang="en-US" dirty="0"/>
              <a:t>1 Gbps = 1 000 000 000 bps</a:t>
            </a:r>
            <a:br>
              <a:rPr lang="en-US" dirty="0"/>
            </a:br>
            <a:endParaRPr lang="en-US" dirty="0"/>
          </a:p>
        </p:txBody>
      </p:sp>
      <p:pic>
        <p:nvPicPr>
          <p:cNvPr id="4098" name="Picture 2" descr="Internet Speed Expained - What Is A Good Internet Speed?">
            <a:extLst>
              <a:ext uri="{FF2B5EF4-FFF2-40B4-BE49-F238E27FC236}">
                <a16:creationId xmlns:a16="http://schemas.microsoft.com/office/drawing/2014/main" id="{6D167C30-1E22-48A6-91AD-E7CE063AA0A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185"/>
          <a:stretch/>
        </p:blipFill>
        <p:spPr bwMode="auto">
          <a:xfrm>
            <a:off x="6899384" y="1690688"/>
            <a:ext cx="4762500" cy="4515559"/>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F9B56102-7A82-A7FB-8509-08A0A9E08267}"/>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89518C5D-51F4-7FB4-E642-447BEB6041B8}"/>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E7B570A9-94A0-DB08-E698-EBB7328F83F9}"/>
              </a:ext>
            </a:extLst>
          </p:cNvPr>
          <p:cNvSpPr>
            <a:spLocks noGrp="1"/>
          </p:cNvSpPr>
          <p:nvPr>
            <p:ph type="sldNum" sz="quarter" idx="12"/>
          </p:nvPr>
        </p:nvSpPr>
        <p:spPr/>
        <p:txBody>
          <a:bodyPr/>
          <a:lstStyle/>
          <a:p>
            <a:fld id="{C925F5E2-2F47-4A96-ABD9-8D26218075D9}" type="slidenum">
              <a:rPr lang="en-US" smtClean="0"/>
              <a:t>12</a:t>
            </a:fld>
            <a:endParaRPr lang="en-US"/>
          </a:p>
        </p:txBody>
      </p:sp>
    </p:spTree>
    <p:extLst>
      <p:ext uri="{BB962C8B-B14F-4D97-AF65-F5344CB8AC3E}">
        <p14:creationId xmlns:p14="http://schemas.microsoft.com/office/powerpoint/2010/main" val="13427102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D888AB-94A6-4E08-B76A-FAC581C5A179}"/>
              </a:ext>
            </a:extLst>
          </p:cNvPr>
          <p:cNvSpPr>
            <a:spLocks noGrp="1"/>
          </p:cNvSpPr>
          <p:nvPr>
            <p:ph type="title"/>
          </p:nvPr>
        </p:nvSpPr>
        <p:spPr/>
        <p:txBody>
          <a:bodyPr/>
          <a:lstStyle/>
          <a:p>
            <a:r>
              <a:rPr lang="en-US" dirty="0"/>
              <a:t>Networks</a:t>
            </a:r>
          </a:p>
        </p:txBody>
      </p:sp>
      <p:sp>
        <p:nvSpPr>
          <p:cNvPr id="3" name="Content Placeholder 2">
            <a:extLst>
              <a:ext uri="{FF2B5EF4-FFF2-40B4-BE49-F238E27FC236}">
                <a16:creationId xmlns:a16="http://schemas.microsoft.com/office/drawing/2014/main" id="{28B44965-8524-43FF-8688-43BC51F4FB59}"/>
              </a:ext>
            </a:extLst>
          </p:cNvPr>
          <p:cNvSpPr>
            <a:spLocks noGrp="1"/>
          </p:cNvSpPr>
          <p:nvPr>
            <p:ph idx="1"/>
          </p:nvPr>
        </p:nvSpPr>
        <p:spPr>
          <a:xfrm>
            <a:off x="888728" y="4052276"/>
            <a:ext cx="3120957" cy="1560584"/>
          </a:xfrm>
        </p:spPr>
        <p:txBody>
          <a:bodyPr/>
          <a:lstStyle/>
          <a:p>
            <a:r>
              <a:rPr lang="en-US" dirty="0"/>
              <a:t>NIC</a:t>
            </a:r>
          </a:p>
          <a:p>
            <a:r>
              <a:rPr lang="en-US" dirty="0"/>
              <a:t>Hub</a:t>
            </a:r>
          </a:p>
          <a:p>
            <a:r>
              <a:rPr lang="en-US" dirty="0"/>
              <a:t>Protocols (TCP/IP)</a:t>
            </a:r>
          </a:p>
        </p:txBody>
      </p:sp>
      <p:pic>
        <p:nvPicPr>
          <p:cNvPr id="4" name="Picture 3">
            <a:extLst>
              <a:ext uri="{FF2B5EF4-FFF2-40B4-BE49-F238E27FC236}">
                <a16:creationId xmlns:a16="http://schemas.microsoft.com/office/drawing/2014/main" id="{EB18F084-4123-4E87-9ED0-8409861F9355}"/>
              </a:ext>
            </a:extLst>
          </p:cNvPr>
          <p:cNvPicPr>
            <a:picLocks noChangeAspect="1"/>
          </p:cNvPicPr>
          <p:nvPr/>
        </p:nvPicPr>
        <p:blipFill>
          <a:blip r:embed="rId3"/>
          <a:stretch>
            <a:fillRect/>
          </a:stretch>
        </p:blipFill>
        <p:spPr>
          <a:xfrm>
            <a:off x="888728" y="1690688"/>
            <a:ext cx="3802596" cy="2125629"/>
          </a:xfrm>
          <a:prstGeom prst="rect">
            <a:avLst/>
          </a:prstGeom>
        </p:spPr>
      </p:pic>
      <p:pic>
        <p:nvPicPr>
          <p:cNvPr id="1030" name="Picture 6" descr="Network Devices : Hub | Switch | Router | Bridge | Gateway">
            <a:extLst>
              <a:ext uri="{FF2B5EF4-FFF2-40B4-BE49-F238E27FC236}">
                <a16:creationId xmlns:a16="http://schemas.microsoft.com/office/drawing/2014/main" id="{621D55C6-02C8-46F8-9A41-CD7985A1078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91324" y="1250514"/>
            <a:ext cx="6947172" cy="4362346"/>
          </a:xfrm>
          <a:prstGeom prst="rect">
            <a:avLst/>
          </a:prstGeom>
          <a:noFill/>
          <a:extLst>
            <a:ext uri="{909E8E84-426E-40DD-AFC4-6F175D3DCCD1}">
              <a14:hiddenFill xmlns:a14="http://schemas.microsoft.com/office/drawing/2010/main">
                <a:solidFill>
                  <a:srgbClr val="FFFFFF"/>
                </a:solidFill>
              </a14:hiddenFill>
            </a:ext>
          </a:extLst>
        </p:spPr>
      </p:pic>
      <p:sp>
        <p:nvSpPr>
          <p:cNvPr id="5" name="Date Placeholder 4">
            <a:extLst>
              <a:ext uri="{FF2B5EF4-FFF2-40B4-BE49-F238E27FC236}">
                <a16:creationId xmlns:a16="http://schemas.microsoft.com/office/drawing/2014/main" id="{067011B5-925D-232B-7973-A8263E0E007E}"/>
              </a:ext>
            </a:extLst>
          </p:cNvPr>
          <p:cNvSpPr>
            <a:spLocks noGrp="1"/>
          </p:cNvSpPr>
          <p:nvPr>
            <p:ph type="dt" sz="half" idx="10"/>
          </p:nvPr>
        </p:nvSpPr>
        <p:spPr/>
        <p:txBody>
          <a:bodyPr/>
          <a:lstStyle/>
          <a:p>
            <a:r>
              <a:rPr lang="en-US"/>
              <a:t>12-3-2023</a:t>
            </a:r>
          </a:p>
        </p:txBody>
      </p:sp>
      <p:sp>
        <p:nvSpPr>
          <p:cNvPr id="6" name="Footer Placeholder 5">
            <a:extLst>
              <a:ext uri="{FF2B5EF4-FFF2-40B4-BE49-F238E27FC236}">
                <a16:creationId xmlns:a16="http://schemas.microsoft.com/office/drawing/2014/main" id="{35970D4A-806B-10D4-31A7-9EF5BD552A5E}"/>
              </a:ext>
            </a:extLst>
          </p:cNvPr>
          <p:cNvSpPr>
            <a:spLocks noGrp="1"/>
          </p:cNvSpPr>
          <p:nvPr>
            <p:ph type="ftr" sz="quarter" idx="11"/>
          </p:nvPr>
        </p:nvSpPr>
        <p:spPr/>
        <p:txBody>
          <a:bodyPr/>
          <a:lstStyle/>
          <a:p>
            <a:r>
              <a:rPr lang="en-US"/>
              <a:t>Levture 4</a:t>
            </a:r>
          </a:p>
        </p:txBody>
      </p:sp>
      <p:sp>
        <p:nvSpPr>
          <p:cNvPr id="7" name="Slide Number Placeholder 6">
            <a:extLst>
              <a:ext uri="{FF2B5EF4-FFF2-40B4-BE49-F238E27FC236}">
                <a16:creationId xmlns:a16="http://schemas.microsoft.com/office/drawing/2014/main" id="{00221B9F-E1D9-4905-B136-8E89C8526C4F}"/>
              </a:ext>
            </a:extLst>
          </p:cNvPr>
          <p:cNvSpPr>
            <a:spLocks noGrp="1"/>
          </p:cNvSpPr>
          <p:nvPr>
            <p:ph type="sldNum" sz="quarter" idx="12"/>
          </p:nvPr>
        </p:nvSpPr>
        <p:spPr/>
        <p:txBody>
          <a:bodyPr/>
          <a:lstStyle/>
          <a:p>
            <a:fld id="{C925F5E2-2F47-4A96-ABD9-8D26218075D9}" type="slidenum">
              <a:rPr lang="en-US" smtClean="0"/>
              <a:t>2</a:t>
            </a:fld>
            <a:endParaRPr lang="en-US"/>
          </a:p>
        </p:txBody>
      </p:sp>
    </p:spTree>
    <p:extLst>
      <p:ext uri="{BB962C8B-B14F-4D97-AF65-F5344CB8AC3E}">
        <p14:creationId xmlns:p14="http://schemas.microsoft.com/office/powerpoint/2010/main" val="21999776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266EA-2D1B-4A72-B37F-8E7FDD103DDD}"/>
              </a:ext>
            </a:extLst>
          </p:cNvPr>
          <p:cNvSpPr>
            <a:spLocks noGrp="1"/>
          </p:cNvSpPr>
          <p:nvPr>
            <p:ph type="title"/>
          </p:nvPr>
        </p:nvSpPr>
        <p:spPr/>
        <p:txBody>
          <a:bodyPr/>
          <a:lstStyle/>
          <a:p>
            <a:r>
              <a:rPr lang="en-US" dirty="0"/>
              <a:t>Network</a:t>
            </a:r>
          </a:p>
        </p:txBody>
      </p:sp>
      <p:grpSp>
        <p:nvGrpSpPr>
          <p:cNvPr id="4" name="Network17" descr="{&quot;Key&quot;:&quot;POWER_USER_SHAPE_ICON&quot;,&quot;Value&quot;:&quot;POWER_USER_SHAPE_ICON_STYLE_1&quot;}">
            <a:extLst>
              <a:ext uri="{FF2B5EF4-FFF2-40B4-BE49-F238E27FC236}">
                <a16:creationId xmlns:a16="http://schemas.microsoft.com/office/drawing/2014/main" id="{8AF69D23-D037-4BD1-BF64-386BB0465348}"/>
              </a:ext>
            </a:extLst>
          </p:cNvPr>
          <p:cNvGrpSpPr>
            <a:grpSpLocks noChangeAspect="1"/>
          </p:cNvGrpSpPr>
          <p:nvPr/>
        </p:nvGrpSpPr>
        <p:grpSpPr>
          <a:xfrm>
            <a:off x="1862897" y="2005583"/>
            <a:ext cx="2454288" cy="2255291"/>
            <a:chOff x="5970588" y="790575"/>
            <a:chExt cx="234950" cy="215901"/>
          </a:xfrm>
          <a:solidFill>
            <a:schemeClr val="accent1"/>
          </a:solidFill>
        </p:grpSpPr>
        <p:sp>
          <p:nvSpPr>
            <p:cNvPr id="5" name="Freeform 2936">
              <a:extLst>
                <a:ext uri="{FF2B5EF4-FFF2-40B4-BE49-F238E27FC236}">
                  <a16:creationId xmlns:a16="http://schemas.microsoft.com/office/drawing/2014/main" id="{6EA1F69F-133E-49FB-8656-536B8FD138C2}"/>
                </a:ext>
              </a:extLst>
            </p:cNvPr>
            <p:cNvSpPr>
              <a:spLocks noEditPoints="1"/>
            </p:cNvSpPr>
            <p:nvPr/>
          </p:nvSpPr>
          <p:spPr bwMode="auto">
            <a:xfrm>
              <a:off x="6051551" y="790575"/>
              <a:ext cx="71438" cy="73025"/>
            </a:xfrm>
            <a:custGeom>
              <a:avLst/>
              <a:gdLst>
                <a:gd name="T0" fmla="*/ 200 w 1983"/>
                <a:gd name="T1" fmla="*/ 1784 h 1984"/>
                <a:gd name="T2" fmla="*/ 1783 w 1983"/>
                <a:gd name="T3" fmla="*/ 1784 h 1984"/>
                <a:gd name="T4" fmla="*/ 1783 w 1983"/>
                <a:gd name="T5" fmla="*/ 201 h 1984"/>
                <a:gd name="T6" fmla="*/ 200 w 1983"/>
                <a:gd name="T7" fmla="*/ 201 h 1984"/>
                <a:gd name="T8" fmla="*/ 200 w 1983"/>
                <a:gd name="T9" fmla="*/ 1784 h 1984"/>
                <a:gd name="T10" fmla="*/ 1883 w 1983"/>
                <a:gd name="T11" fmla="*/ 1984 h 1984"/>
                <a:gd name="T12" fmla="*/ 100 w 1983"/>
                <a:gd name="T13" fmla="*/ 1984 h 1984"/>
                <a:gd name="T14" fmla="*/ 0 w 1983"/>
                <a:gd name="T15" fmla="*/ 1884 h 1984"/>
                <a:gd name="T16" fmla="*/ 0 w 1983"/>
                <a:gd name="T17" fmla="*/ 101 h 1984"/>
                <a:gd name="T18" fmla="*/ 100 w 1983"/>
                <a:gd name="T19" fmla="*/ 0 h 1984"/>
                <a:gd name="T20" fmla="*/ 1883 w 1983"/>
                <a:gd name="T21" fmla="*/ 0 h 1984"/>
                <a:gd name="T22" fmla="*/ 1983 w 1983"/>
                <a:gd name="T23" fmla="*/ 101 h 1984"/>
                <a:gd name="T24" fmla="*/ 1983 w 1983"/>
                <a:gd name="T25" fmla="*/ 1884 h 1984"/>
                <a:gd name="T26" fmla="*/ 1883 w 1983"/>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3" h="1984">
                  <a:moveTo>
                    <a:pt x="200" y="1784"/>
                  </a:moveTo>
                  <a:lnTo>
                    <a:pt x="1783" y="1784"/>
                  </a:lnTo>
                  <a:lnTo>
                    <a:pt x="1783" y="201"/>
                  </a:lnTo>
                  <a:lnTo>
                    <a:pt x="200" y="201"/>
                  </a:lnTo>
                  <a:lnTo>
                    <a:pt x="200" y="1784"/>
                  </a:lnTo>
                  <a:close/>
                  <a:moveTo>
                    <a:pt x="1883" y="1984"/>
                  </a:moveTo>
                  <a:lnTo>
                    <a:pt x="100" y="1984"/>
                  </a:lnTo>
                  <a:cubicBezTo>
                    <a:pt x="44" y="1984"/>
                    <a:pt x="0" y="1939"/>
                    <a:pt x="0" y="1884"/>
                  </a:cubicBezTo>
                  <a:lnTo>
                    <a:pt x="0" y="101"/>
                  </a:lnTo>
                  <a:cubicBezTo>
                    <a:pt x="0" y="45"/>
                    <a:pt x="44" y="0"/>
                    <a:pt x="100" y="0"/>
                  </a:cubicBezTo>
                  <a:lnTo>
                    <a:pt x="1883" y="0"/>
                  </a:lnTo>
                  <a:cubicBezTo>
                    <a:pt x="1938" y="0"/>
                    <a:pt x="1983" y="45"/>
                    <a:pt x="1983" y="101"/>
                  </a:cubicBezTo>
                  <a:lnTo>
                    <a:pt x="1983" y="1884"/>
                  </a:lnTo>
                  <a:cubicBezTo>
                    <a:pt x="1983" y="1939"/>
                    <a:pt x="1938" y="1984"/>
                    <a:pt x="1883"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reeform 2937">
              <a:extLst>
                <a:ext uri="{FF2B5EF4-FFF2-40B4-BE49-F238E27FC236}">
                  <a16:creationId xmlns:a16="http://schemas.microsoft.com/office/drawing/2014/main" id="{33E7AAB0-F1E0-41E2-8660-F5A35BE22C3E}"/>
                </a:ext>
              </a:extLst>
            </p:cNvPr>
            <p:cNvSpPr>
              <a:spLocks noEditPoints="1"/>
            </p:cNvSpPr>
            <p:nvPr/>
          </p:nvSpPr>
          <p:spPr bwMode="auto">
            <a:xfrm>
              <a:off x="6051551" y="935038"/>
              <a:ext cx="73025" cy="71438"/>
            </a:xfrm>
            <a:custGeom>
              <a:avLst/>
              <a:gdLst>
                <a:gd name="T0" fmla="*/ 200 w 1984"/>
                <a:gd name="T1" fmla="*/ 1783 h 1984"/>
                <a:gd name="T2" fmla="*/ 1784 w 1984"/>
                <a:gd name="T3" fmla="*/ 1783 h 1984"/>
                <a:gd name="T4" fmla="*/ 1784 w 1984"/>
                <a:gd name="T5" fmla="*/ 200 h 1984"/>
                <a:gd name="T6" fmla="*/ 200 w 1984"/>
                <a:gd name="T7" fmla="*/ 200 h 1984"/>
                <a:gd name="T8" fmla="*/ 200 w 1984"/>
                <a:gd name="T9" fmla="*/ 1783 h 1984"/>
                <a:gd name="T10" fmla="*/ 1884 w 1984"/>
                <a:gd name="T11" fmla="*/ 1984 h 1984"/>
                <a:gd name="T12" fmla="*/ 100 w 1984"/>
                <a:gd name="T13" fmla="*/ 1984 h 1984"/>
                <a:gd name="T14" fmla="*/ 0 w 1984"/>
                <a:gd name="T15" fmla="*/ 1884 h 1984"/>
                <a:gd name="T16" fmla="*/ 0 w 1984"/>
                <a:gd name="T17" fmla="*/ 100 h 1984"/>
                <a:gd name="T18" fmla="*/ 100 w 1984"/>
                <a:gd name="T19" fmla="*/ 0 h 1984"/>
                <a:gd name="T20" fmla="*/ 1884 w 1984"/>
                <a:gd name="T21" fmla="*/ 0 h 1984"/>
                <a:gd name="T22" fmla="*/ 1984 w 1984"/>
                <a:gd name="T23" fmla="*/ 100 h 1984"/>
                <a:gd name="T24" fmla="*/ 1984 w 1984"/>
                <a:gd name="T25" fmla="*/ 1884 h 1984"/>
                <a:gd name="T26" fmla="*/ 1884 w 1984"/>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4" h="1984">
                  <a:moveTo>
                    <a:pt x="200" y="1783"/>
                  </a:moveTo>
                  <a:lnTo>
                    <a:pt x="1784" y="1783"/>
                  </a:lnTo>
                  <a:lnTo>
                    <a:pt x="1784" y="200"/>
                  </a:lnTo>
                  <a:lnTo>
                    <a:pt x="200" y="200"/>
                  </a:lnTo>
                  <a:lnTo>
                    <a:pt x="200" y="1783"/>
                  </a:lnTo>
                  <a:close/>
                  <a:moveTo>
                    <a:pt x="1884" y="1984"/>
                  </a:moveTo>
                  <a:lnTo>
                    <a:pt x="100" y="1984"/>
                  </a:lnTo>
                  <a:cubicBezTo>
                    <a:pt x="45" y="1984"/>
                    <a:pt x="0" y="1939"/>
                    <a:pt x="0" y="1884"/>
                  </a:cubicBezTo>
                  <a:lnTo>
                    <a:pt x="0" y="100"/>
                  </a:lnTo>
                  <a:cubicBezTo>
                    <a:pt x="0" y="45"/>
                    <a:pt x="45" y="0"/>
                    <a:pt x="100" y="0"/>
                  </a:cubicBezTo>
                  <a:lnTo>
                    <a:pt x="1884" y="0"/>
                  </a:lnTo>
                  <a:cubicBezTo>
                    <a:pt x="1939" y="0"/>
                    <a:pt x="1984" y="45"/>
                    <a:pt x="1984" y="100"/>
                  </a:cubicBezTo>
                  <a:lnTo>
                    <a:pt x="1984" y="1884"/>
                  </a:lnTo>
                  <a:cubicBezTo>
                    <a:pt x="1984" y="1939"/>
                    <a:pt x="1939" y="1984"/>
                    <a:pt x="1884"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reeform 2938">
              <a:extLst>
                <a:ext uri="{FF2B5EF4-FFF2-40B4-BE49-F238E27FC236}">
                  <a16:creationId xmlns:a16="http://schemas.microsoft.com/office/drawing/2014/main" id="{8CA08997-7708-453D-BE79-31CAA32D5F45}"/>
                </a:ext>
              </a:extLst>
            </p:cNvPr>
            <p:cNvSpPr>
              <a:spLocks noEditPoints="1"/>
            </p:cNvSpPr>
            <p:nvPr/>
          </p:nvSpPr>
          <p:spPr bwMode="auto">
            <a:xfrm>
              <a:off x="5970588" y="935038"/>
              <a:ext cx="73025" cy="71438"/>
            </a:xfrm>
            <a:custGeom>
              <a:avLst/>
              <a:gdLst>
                <a:gd name="T0" fmla="*/ 200 w 1983"/>
                <a:gd name="T1" fmla="*/ 1783 h 1984"/>
                <a:gd name="T2" fmla="*/ 1783 w 1983"/>
                <a:gd name="T3" fmla="*/ 1783 h 1984"/>
                <a:gd name="T4" fmla="*/ 1783 w 1983"/>
                <a:gd name="T5" fmla="*/ 200 h 1984"/>
                <a:gd name="T6" fmla="*/ 200 w 1983"/>
                <a:gd name="T7" fmla="*/ 200 h 1984"/>
                <a:gd name="T8" fmla="*/ 200 w 1983"/>
                <a:gd name="T9" fmla="*/ 1783 h 1984"/>
                <a:gd name="T10" fmla="*/ 1883 w 1983"/>
                <a:gd name="T11" fmla="*/ 1984 h 1984"/>
                <a:gd name="T12" fmla="*/ 100 w 1983"/>
                <a:gd name="T13" fmla="*/ 1984 h 1984"/>
                <a:gd name="T14" fmla="*/ 0 w 1983"/>
                <a:gd name="T15" fmla="*/ 1884 h 1984"/>
                <a:gd name="T16" fmla="*/ 0 w 1983"/>
                <a:gd name="T17" fmla="*/ 100 h 1984"/>
                <a:gd name="T18" fmla="*/ 100 w 1983"/>
                <a:gd name="T19" fmla="*/ 0 h 1984"/>
                <a:gd name="T20" fmla="*/ 1883 w 1983"/>
                <a:gd name="T21" fmla="*/ 0 h 1984"/>
                <a:gd name="T22" fmla="*/ 1983 w 1983"/>
                <a:gd name="T23" fmla="*/ 100 h 1984"/>
                <a:gd name="T24" fmla="*/ 1983 w 1983"/>
                <a:gd name="T25" fmla="*/ 1884 h 1984"/>
                <a:gd name="T26" fmla="*/ 1883 w 1983"/>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3" h="1984">
                  <a:moveTo>
                    <a:pt x="200" y="1783"/>
                  </a:moveTo>
                  <a:lnTo>
                    <a:pt x="1783" y="1783"/>
                  </a:lnTo>
                  <a:lnTo>
                    <a:pt x="1783" y="200"/>
                  </a:lnTo>
                  <a:lnTo>
                    <a:pt x="200" y="200"/>
                  </a:lnTo>
                  <a:lnTo>
                    <a:pt x="200" y="1783"/>
                  </a:lnTo>
                  <a:close/>
                  <a:moveTo>
                    <a:pt x="1883" y="1984"/>
                  </a:moveTo>
                  <a:lnTo>
                    <a:pt x="100" y="1984"/>
                  </a:lnTo>
                  <a:cubicBezTo>
                    <a:pt x="44" y="1984"/>
                    <a:pt x="0" y="1939"/>
                    <a:pt x="0" y="1884"/>
                  </a:cubicBezTo>
                  <a:lnTo>
                    <a:pt x="0" y="100"/>
                  </a:lnTo>
                  <a:cubicBezTo>
                    <a:pt x="0" y="45"/>
                    <a:pt x="44" y="0"/>
                    <a:pt x="100" y="0"/>
                  </a:cubicBezTo>
                  <a:lnTo>
                    <a:pt x="1883" y="0"/>
                  </a:lnTo>
                  <a:cubicBezTo>
                    <a:pt x="1938" y="0"/>
                    <a:pt x="1983" y="45"/>
                    <a:pt x="1983" y="100"/>
                  </a:cubicBezTo>
                  <a:lnTo>
                    <a:pt x="1983" y="1884"/>
                  </a:lnTo>
                  <a:cubicBezTo>
                    <a:pt x="1983" y="1939"/>
                    <a:pt x="1938" y="1984"/>
                    <a:pt x="1883"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reeform 2939">
              <a:extLst>
                <a:ext uri="{FF2B5EF4-FFF2-40B4-BE49-F238E27FC236}">
                  <a16:creationId xmlns:a16="http://schemas.microsoft.com/office/drawing/2014/main" id="{E7275ACE-946A-423F-A10F-E994985E7A00}"/>
                </a:ext>
              </a:extLst>
            </p:cNvPr>
            <p:cNvSpPr>
              <a:spLocks noEditPoints="1"/>
            </p:cNvSpPr>
            <p:nvPr/>
          </p:nvSpPr>
          <p:spPr bwMode="auto">
            <a:xfrm>
              <a:off x="6132513" y="935038"/>
              <a:ext cx="73025" cy="71438"/>
            </a:xfrm>
            <a:custGeom>
              <a:avLst/>
              <a:gdLst>
                <a:gd name="T0" fmla="*/ 200 w 1983"/>
                <a:gd name="T1" fmla="*/ 1783 h 1984"/>
                <a:gd name="T2" fmla="*/ 1783 w 1983"/>
                <a:gd name="T3" fmla="*/ 1783 h 1984"/>
                <a:gd name="T4" fmla="*/ 1783 w 1983"/>
                <a:gd name="T5" fmla="*/ 200 h 1984"/>
                <a:gd name="T6" fmla="*/ 200 w 1983"/>
                <a:gd name="T7" fmla="*/ 200 h 1984"/>
                <a:gd name="T8" fmla="*/ 200 w 1983"/>
                <a:gd name="T9" fmla="*/ 1783 h 1984"/>
                <a:gd name="T10" fmla="*/ 1883 w 1983"/>
                <a:gd name="T11" fmla="*/ 1984 h 1984"/>
                <a:gd name="T12" fmla="*/ 100 w 1983"/>
                <a:gd name="T13" fmla="*/ 1984 h 1984"/>
                <a:gd name="T14" fmla="*/ 0 w 1983"/>
                <a:gd name="T15" fmla="*/ 1884 h 1984"/>
                <a:gd name="T16" fmla="*/ 0 w 1983"/>
                <a:gd name="T17" fmla="*/ 100 h 1984"/>
                <a:gd name="T18" fmla="*/ 100 w 1983"/>
                <a:gd name="T19" fmla="*/ 0 h 1984"/>
                <a:gd name="T20" fmla="*/ 1883 w 1983"/>
                <a:gd name="T21" fmla="*/ 0 h 1984"/>
                <a:gd name="T22" fmla="*/ 1983 w 1983"/>
                <a:gd name="T23" fmla="*/ 100 h 1984"/>
                <a:gd name="T24" fmla="*/ 1983 w 1983"/>
                <a:gd name="T25" fmla="*/ 1884 h 1984"/>
                <a:gd name="T26" fmla="*/ 1883 w 1983"/>
                <a:gd name="T27" fmla="*/ 1984 h 1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83" h="1984">
                  <a:moveTo>
                    <a:pt x="200" y="1783"/>
                  </a:moveTo>
                  <a:lnTo>
                    <a:pt x="1783" y="1783"/>
                  </a:lnTo>
                  <a:lnTo>
                    <a:pt x="1783" y="200"/>
                  </a:lnTo>
                  <a:lnTo>
                    <a:pt x="200" y="200"/>
                  </a:lnTo>
                  <a:lnTo>
                    <a:pt x="200" y="1783"/>
                  </a:lnTo>
                  <a:close/>
                  <a:moveTo>
                    <a:pt x="1883" y="1984"/>
                  </a:moveTo>
                  <a:lnTo>
                    <a:pt x="100" y="1984"/>
                  </a:lnTo>
                  <a:cubicBezTo>
                    <a:pt x="44" y="1984"/>
                    <a:pt x="0" y="1939"/>
                    <a:pt x="0" y="1884"/>
                  </a:cubicBezTo>
                  <a:lnTo>
                    <a:pt x="0" y="100"/>
                  </a:lnTo>
                  <a:cubicBezTo>
                    <a:pt x="0" y="45"/>
                    <a:pt x="44" y="0"/>
                    <a:pt x="100" y="0"/>
                  </a:cubicBezTo>
                  <a:lnTo>
                    <a:pt x="1883" y="0"/>
                  </a:lnTo>
                  <a:cubicBezTo>
                    <a:pt x="1938" y="0"/>
                    <a:pt x="1983" y="45"/>
                    <a:pt x="1983" y="100"/>
                  </a:cubicBezTo>
                  <a:lnTo>
                    <a:pt x="1983" y="1884"/>
                  </a:lnTo>
                  <a:cubicBezTo>
                    <a:pt x="1983" y="1939"/>
                    <a:pt x="1938" y="1984"/>
                    <a:pt x="1883" y="198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2940">
              <a:extLst>
                <a:ext uri="{FF2B5EF4-FFF2-40B4-BE49-F238E27FC236}">
                  <a16:creationId xmlns:a16="http://schemas.microsoft.com/office/drawing/2014/main" id="{6AC39942-7105-439F-B939-1E6E467A047A}"/>
                </a:ext>
              </a:extLst>
            </p:cNvPr>
            <p:cNvSpPr>
              <a:spLocks/>
            </p:cNvSpPr>
            <p:nvPr/>
          </p:nvSpPr>
          <p:spPr bwMode="auto">
            <a:xfrm>
              <a:off x="6083301" y="871538"/>
              <a:ext cx="7938" cy="53975"/>
            </a:xfrm>
            <a:custGeom>
              <a:avLst/>
              <a:gdLst>
                <a:gd name="T0" fmla="*/ 100 w 200"/>
                <a:gd name="T1" fmla="*/ 1449 h 1449"/>
                <a:gd name="T2" fmla="*/ 0 w 200"/>
                <a:gd name="T3" fmla="*/ 1350 h 1449"/>
                <a:gd name="T4" fmla="*/ 0 w 200"/>
                <a:gd name="T5" fmla="*/ 100 h 1449"/>
                <a:gd name="T6" fmla="*/ 100 w 200"/>
                <a:gd name="T7" fmla="*/ 0 h 1449"/>
                <a:gd name="T8" fmla="*/ 200 w 200"/>
                <a:gd name="T9" fmla="*/ 100 h 1449"/>
                <a:gd name="T10" fmla="*/ 200 w 200"/>
                <a:gd name="T11" fmla="*/ 1350 h 1449"/>
                <a:gd name="T12" fmla="*/ 100 w 200"/>
                <a:gd name="T13" fmla="*/ 1449 h 1449"/>
              </a:gdLst>
              <a:ahLst/>
              <a:cxnLst>
                <a:cxn ang="0">
                  <a:pos x="T0" y="T1"/>
                </a:cxn>
                <a:cxn ang="0">
                  <a:pos x="T2" y="T3"/>
                </a:cxn>
                <a:cxn ang="0">
                  <a:pos x="T4" y="T5"/>
                </a:cxn>
                <a:cxn ang="0">
                  <a:pos x="T6" y="T7"/>
                </a:cxn>
                <a:cxn ang="0">
                  <a:pos x="T8" y="T9"/>
                </a:cxn>
                <a:cxn ang="0">
                  <a:pos x="T10" y="T11"/>
                </a:cxn>
                <a:cxn ang="0">
                  <a:pos x="T12" y="T13"/>
                </a:cxn>
              </a:cxnLst>
              <a:rect l="0" t="0" r="r" b="b"/>
              <a:pathLst>
                <a:path w="200" h="1449">
                  <a:moveTo>
                    <a:pt x="100" y="1449"/>
                  </a:moveTo>
                  <a:cubicBezTo>
                    <a:pt x="44" y="1449"/>
                    <a:pt x="0" y="1405"/>
                    <a:pt x="0" y="1350"/>
                  </a:cubicBezTo>
                  <a:lnTo>
                    <a:pt x="0" y="100"/>
                  </a:lnTo>
                  <a:cubicBezTo>
                    <a:pt x="0" y="44"/>
                    <a:pt x="44" y="0"/>
                    <a:pt x="100" y="0"/>
                  </a:cubicBezTo>
                  <a:cubicBezTo>
                    <a:pt x="155" y="0"/>
                    <a:pt x="200" y="44"/>
                    <a:pt x="200" y="100"/>
                  </a:cubicBezTo>
                  <a:lnTo>
                    <a:pt x="200" y="1350"/>
                  </a:lnTo>
                  <a:cubicBezTo>
                    <a:pt x="200" y="1405"/>
                    <a:pt x="155" y="1449"/>
                    <a:pt x="100" y="14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eeform 2941">
              <a:extLst>
                <a:ext uri="{FF2B5EF4-FFF2-40B4-BE49-F238E27FC236}">
                  <a16:creationId xmlns:a16="http://schemas.microsoft.com/office/drawing/2014/main" id="{C5072E31-F496-4669-82CB-303DCB1AEF60}"/>
                </a:ext>
              </a:extLst>
            </p:cNvPr>
            <p:cNvSpPr>
              <a:spLocks/>
            </p:cNvSpPr>
            <p:nvPr/>
          </p:nvSpPr>
          <p:spPr bwMode="auto">
            <a:xfrm>
              <a:off x="6000751" y="893763"/>
              <a:ext cx="98425" cy="36513"/>
            </a:xfrm>
            <a:custGeom>
              <a:avLst/>
              <a:gdLst>
                <a:gd name="T0" fmla="*/ 100 w 2700"/>
                <a:gd name="T1" fmla="*/ 1016 h 1016"/>
                <a:gd name="T2" fmla="*/ 0 w 2700"/>
                <a:gd name="T3" fmla="*/ 917 h 1016"/>
                <a:gd name="T4" fmla="*/ 0 w 2700"/>
                <a:gd name="T5" fmla="*/ 100 h 1016"/>
                <a:gd name="T6" fmla="*/ 100 w 2700"/>
                <a:gd name="T7" fmla="*/ 0 h 1016"/>
                <a:gd name="T8" fmla="*/ 2600 w 2700"/>
                <a:gd name="T9" fmla="*/ 0 h 1016"/>
                <a:gd name="T10" fmla="*/ 2700 w 2700"/>
                <a:gd name="T11" fmla="*/ 100 h 1016"/>
                <a:gd name="T12" fmla="*/ 2600 w 2700"/>
                <a:gd name="T13" fmla="*/ 200 h 1016"/>
                <a:gd name="T14" fmla="*/ 200 w 2700"/>
                <a:gd name="T15" fmla="*/ 200 h 1016"/>
                <a:gd name="T16" fmla="*/ 200 w 2700"/>
                <a:gd name="T17" fmla="*/ 917 h 1016"/>
                <a:gd name="T18" fmla="*/ 100 w 2700"/>
                <a:gd name="T19" fmla="*/ 1016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0" h="1016">
                  <a:moveTo>
                    <a:pt x="100" y="1016"/>
                  </a:moveTo>
                  <a:cubicBezTo>
                    <a:pt x="45" y="1016"/>
                    <a:pt x="0" y="972"/>
                    <a:pt x="0" y="917"/>
                  </a:cubicBezTo>
                  <a:lnTo>
                    <a:pt x="0" y="100"/>
                  </a:lnTo>
                  <a:cubicBezTo>
                    <a:pt x="0" y="45"/>
                    <a:pt x="45" y="0"/>
                    <a:pt x="100" y="0"/>
                  </a:cubicBezTo>
                  <a:lnTo>
                    <a:pt x="2600" y="0"/>
                  </a:lnTo>
                  <a:cubicBezTo>
                    <a:pt x="2655" y="0"/>
                    <a:pt x="2700" y="45"/>
                    <a:pt x="2700" y="100"/>
                  </a:cubicBezTo>
                  <a:cubicBezTo>
                    <a:pt x="2700" y="156"/>
                    <a:pt x="2655" y="200"/>
                    <a:pt x="2600" y="200"/>
                  </a:cubicBezTo>
                  <a:lnTo>
                    <a:pt x="200" y="200"/>
                  </a:lnTo>
                  <a:lnTo>
                    <a:pt x="200" y="917"/>
                  </a:lnTo>
                  <a:cubicBezTo>
                    <a:pt x="200" y="972"/>
                    <a:pt x="155" y="1016"/>
                    <a:pt x="100" y="101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2942">
              <a:extLst>
                <a:ext uri="{FF2B5EF4-FFF2-40B4-BE49-F238E27FC236}">
                  <a16:creationId xmlns:a16="http://schemas.microsoft.com/office/drawing/2014/main" id="{6796793C-96BE-4D73-9366-71F885EEEB37}"/>
                </a:ext>
              </a:extLst>
            </p:cNvPr>
            <p:cNvSpPr>
              <a:spLocks/>
            </p:cNvSpPr>
            <p:nvPr/>
          </p:nvSpPr>
          <p:spPr bwMode="auto">
            <a:xfrm>
              <a:off x="6103938" y="892175"/>
              <a:ext cx="66675" cy="33338"/>
            </a:xfrm>
            <a:custGeom>
              <a:avLst/>
              <a:gdLst>
                <a:gd name="T0" fmla="*/ 1767 w 1867"/>
                <a:gd name="T1" fmla="*/ 900 h 900"/>
                <a:gd name="T2" fmla="*/ 1667 w 1867"/>
                <a:gd name="T3" fmla="*/ 801 h 900"/>
                <a:gd name="T4" fmla="*/ 1667 w 1867"/>
                <a:gd name="T5" fmla="*/ 200 h 900"/>
                <a:gd name="T6" fmla="*/ 100 w 1867"/>
                <a:gd name="T7" fmla="*/ 200 h 900"/>
                <a:gd name="T8" fmla="*/ 0 w 1867"/>
                <a:gd name="T9" fmla="*/ 100 h 900"/>
                <a:gd name="T10" fmla="*/ 100 w 1867"/>
                <a:gd name="T11" fmla="*/ 0 h 900"/>
                <a:gd name="T12" fmla="*/ 1767 w 1867"/>
                <a:gd name="T13" fmla="*/ 0 h 900"/>
                <a:gd name="T14" fmla="*/ 1867 w 1867"/>
                <a:gd name="T15" fmla="*/ 100 h 900"/>
                <a:gd name="T16" fmla="*/ 1867 w 1867"/>
                <a:gd name="T17" fmla="*/ 801 h 900"/>
                <a:gd name="T18" fmla="*/ 1767 w 1867"/>
                <a:gd name="T19" fmla="*/ 900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67" h="900">
                  <a:moveTo>
                    <a:pt x="1767" y="900"/>
                  </a:moveTo>
                  <a:cubicBezTo>
                    <a:pt x="1711" y="900"/>
                    <a:pt x="1667" y="856"/>
                    <a:pt x="1667" y="801"/>
                  </a:cubicBezTo>
                  <a:lnTo>
                    <a:pt x="1667" y="200"/>
                  </a:lnTo>
                  <a:lnTo>
                    <a:pt x="100" y="200"/>
                  </a:lnTo>
                  <a:cubicBezTo>
                    <a:pt x="45" y="200"/>
                    <a:pt x="0" y="156"/>
                    <a:pt x="0" y="100"/>
                  </a:cubicBezTo>
                  <a:cubicBezTo>
                    <a:pt x="0" y="46"/>
                    <a:pt x="45" y="0"/>
                    <a:pt x="100" y="0"/>
                  </a:cubicBezTo>
                  <a:lnTo>
                    <a:pt x="1767" y="0"/>
                  </a:lnTo>
                  <a:cubicBezTo>
                    <a:pt x="1822" y="0"/>
                    <a:pt x="1867" y="46"/>
                    <a:pt x="1867" y="100"/>
                  </a:cubicBezTo>
                  <a:lnTo>
                    <a:pt x="1867" y="801"/>
                  </a:lnTo>
                  <a:cubicBezTo>
                    <a:pt x="1867" y="856"/>
                    <a:pt x="1822" y="900"/>
                    <a:pt x="1767" y="90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 name="Network6" descr="{&quot;Key&quot;:&quot;POWER_USER_SHAPE_ICON&quot;,&quot;Value&quot;:&quot;POWER_USER_SHAPE_ICON_STYLE_1&quot;}">
            <a:extLst>
              <a:ext uri="{FF2B5EF4-FFF2-40B4-BE49-F238E27FC236}">
                <a16:creationId xmlns:a16="http://schemas.microsoft.com/office/drawing/2014/main" id="{458897A2-53FA-46A9-B589-F66A657D9F90}"/>
              </a:ext>
            </a:extLst>
          </p:cNvPr>
          <p:cNvGrpSpPr>
            <a:grpSpLocks noChangeAspect="1"/>
          </p:cNvGrpSpPr>
          <p:nvPr>
            <p:custDataLst>
              <p:tags r:id="rId1"/>
            </p:custDataLst>
          </p:nvPr>
        </p:nvGrpSpPr>
        <p:grpSpPr>
          <a:xfrm>
            <a:off x="6520214" y="1964735"/>
            <a:ext cx="2744010" cy="2928530"/>
            <a:chOff x="8237202" y="2395137"/>
            <a:chExt cx="1956462" cy="2088027"/>
          </a:xfrm>
        </p:grpSpPr>
        <p:grpSp>
          <p:nvGrpSpPr>
            <p:cNvPr id="15" name="Computer5">
              <a:extLst>
                <a:ext uri="{FF2B5EF4-FFF2-40B4-BE49-F238E27FC236}">
                  <a16:creationId xmlns:a16="http://schemas.microsoft.com/office/drawing/2014/main" id="{FBB3C74D-EDEF-48C1-9AEE-C12BF7ACA3A6}"/>
                </a:ext>
              </a:extLst>
            </p:cNvPr>
            <p:cNvGrpSpPr>
              <a:grpSpLocks noChangeAspect="1"/>
            </p:cNvGrpSpPr>
            <p:nvPr>
              <p:custDataLst>
                <p:tags r:id="rId2"/>
              </p:custDataLst>
            </p:nvPr>
          </p:nvGrpSpPr>
          <p:grpSpPr>
            <a:xfrm>
              <a:off x="8434762" y="3399291"/>
              <a:ext cx="684506" cy="597218"/>
              <a:chOff x="3180521" y="4219534"/>
              <a:chExt cx="2834901" cy="2473394"/>
            </a:xfrm>
            <a:solidFill>
              <a:schemeClr val="accent1"/>
            </a:solidFill>
          </p:grpSpPr>
          <p:sp>
            <p:nvSpPr>
              <p:cNvPr id="27" name="Freeform: Shape 1347">
                <a:extLst>
                  <a:ext uri="{FF2B5EF4-FFF2-40B4-BE49-F238E27FC236}">
                    <a16:creationId xmlns:a16="http://schemas.microsoft.com/office/drawing/2014/main" id="{633CF66D-088C-42DB-B2A9-59D2606BCDEF}"/>
                  </a:ext>
                </a:extLst>
              </p:cNvPr>
              <p:cNvSpPr>
                <a:spLocks noChangeAspect="1"/>
              </p:cNvSpPr>
              <p:nvPr/>
            </p:nvSpPr>
            <p:spPr bwMode="auto">
              <a:xfrm>
                <a:off x="3180521" y="4219534"/>
                <a:ext cx="2834901" cy="2052000"/>
              </a:xfrm>
              <a:custGeom>
                <a:avLst/>
                <a:gdLst>
                  <a:gd name="connsiteX0" fmla="*/ 294147 w 2695575"/>
                  <a:gd name="connsiteY0" fmla="*/ 64677 h 1985963"/>
                  <a:gd name="connsiteX1" fmla="*/ 51787 w 2695575"/>
                  <a:gd name="connsiteY1" fmla="*/ 300707 h 1985963"/>
                  <a:gd name="connsiteX2" fmla="*/ 51787 w 2695575"/>
                  <a:gd name="connsiteY2" fmla="*/ 1685255 h 1985963"/>
                  <a:gd name="connsiteX3" fmla="*/ 294147 w 2695575"/>
                  <a:gd name="connsiteY3" fmla="*/ 1921285 h 1985963"/>
                  <a:gd name="connsiteX4" fmla="*/ 2401427 w 2695575"/>
                  <a:gd name="connsiteY4" fmla="*/ 1921285 h 1985963"/>
                  <a:gd name="connsiteX5" fmla="*/ 2643787 w 2695575"/>
                  <a:gd name="connsiteY5" fmla="*/ 1685255 h 1985963"/>
                  <a:gd name="connsiteX6" fmla="*/ 2643787 w 2695575"/>
                  <a:gd name="connsiteY6" fmla="*/ 300707 h 1985963"/>
                  <a:gd name="connsiteX7" fmla="*/ 2401427 w 2695575"/>
                  <a:gd name="connsiteY7" fmla="*/ 64677 h 1985963"/>
                  <a:gd name="connsiteX8" fmla="*/ 252044 w 2695575"/>
                  <a:gd name="connsiteY8" fmla="*/ 0 h 1985963"/>
                  <a:gd name="connsiteX9" fmla="*/ 2443531 w 2695575"/>
                  <a:gd name="connsiteY9" fmla="*/ 0 h 1985963"/>
                  <a:gd name="connsiteX10" fmla="*/ 2695575 w 2695575"/>
                  <a:gd name="connsiteY10" fmla="*/ 252475 h 1985963"/>
                  <a:gd name="connsiteX11" fmla="*/ 2695575 w 2695575"/>
                  <a:gd name="connsiteY11" fmla="*/ 1733488 h 1985963"/>
                  <a:gd name="connsiteX12" fmla="*/ 2443531 w 2695575"/>
                  <a:gd name="connsiteY12" fmla="*/ 1985963 h 1985963"/>
                  <a:gd name="connsiteX13" fmla="*/ 252044 w 2695575"/>
                  <a:gd name="connsiteY13" fmla="*/ 1985963 h 1985963"/>
                  <a:gd name="connsiteX14" fmla="*/ 0 w 2695575"/>
                  <a:gd name="connsiteY14" fmla="*/ 1733488 h 1985963"/>
                  <a:gd name="connsiteX15" fmla="*/ 0 w 2695575"/>
                  <a:gd name="connsiteY15" fmla="*/ 252475 h 1985963"/>
                  <a:gd name="connsiteX16" fmla="*/ 252044 w 2695575"/>
                  <a:gd name="connsiteY16" fmla="*/ 0 h 198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5575" h="1985963">
                    <a:moveTo>
                      <a:pt x="294147" y="64677"/>
                    </a:moveTo>
                    <a:cubicBezTo>
                      <a:pt x="160224" y="64677"/>
                      <a:pt x="51787" y="169796"/>
                      <a:pt x="51787" y="300707"/>
                    </a:cubicBezTo>
                    <a:lnTo>
                      <a:pt x="51787" y="1685255"/>
                    </a:lnTo>
                    <a:cubicBezTo>
                      <a:pt x="51787" y="1816167"/>
                      <a:pt x="160224" y="1921285"/>
                      <a:pt x="294147" y="1921285"/>
                    </a:cubicBezTo>
                    <a:lnTo>
                      <a:pt x="2401427" y="1921285"/>
                    </a:lnTo>
                    <a:cubicBezTo>
                      <a:pt x="2535350" y="1921285"/>
                      <a:pt x="2643787" y="1816167"/>
                      <a:pt x="2643787" y="1685255"/>
                    </a:cubicBezTo>
                    <a:lnTo>
                      <a:pt x="2643787" y="300707"/>
                    </a:lnTo>
                    <a:cubicBezTo>
                      <a:pt x="2643787" y="169796"/>
                      <a:pt x="2535350" y="64677"/>
                      <a:pt x="2401427" y="64677"/>
                    </a:cubicBezTo>
                    <a:close/>
                    <a:moveTo>
                      <a:pt x="252044" y="0"/>
                    </a:moveTo>
                    <a:lnTo>
                      <a:pt x="2443531" y="0"/>
                    </a:lnTo>
                    <a:cubicBezTo>
                      <a:pt x="2582805" y="0"/>
                      <a:pt x="2695575" y="112443"/>
                      <a:pt x="2695575" y="252475"/>
                    </a:cubicBezTo>
                    <a:lnTo>
                      <a:pt x="2695575" y="1733488"/>
                    </a:lnTo>
                    <a:cubicBezTo>
                      <a:pt x="2695575" y="1873521"/>
                      <a:pt x="2582805" y="1985963"/>
                      <a:pt x="2443531" y="1985963"/>
                    </a:cubicBezTo>
                    <a:lnTo>
                      <a:pt x="252044" y="1985963"/>
                    </a:lnTo>
                    <a:cubicBezTo>
                      <a:pt x="112770" y="1985963"/>
                      <a:pt x="0" y="1873521"/>
                      <a:pt x="0" y="1733488"/>
                    </a:cubicBezTo>
                    <a:lnTo>
                      <a:pt x="0" y="252475"/>
                    </a:lnTo>
                    <a:cubicBezTo>
                      <a:pt x="0" y="112443"/>
                      <a:pt x="112770" y="0"/>
                      <a:pt x="252044"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Freeform: Shape 1351">
                <a:extLst>
                  <a:ext uri="{FF2B5EF4-FFF2-40B4-BE49-F238E27FC236}">
                    <a16:creationId xmlns:a16="http://schemas.microsoft.com/office/drawing/2014/main" id="{3CBFEE4D-F73C-4E19-BC50-E49A19875031}"/>
                  </a:ext>
                </a:extLst>
              </p:cNvPr>
              <p:cNvSpPr>
                <a:spLocks/>
              </p:cNvSpPr>
              <p:nvPr/>
            </p:nvSpPr>
            <p:spPr bwMode="auto">
              <a:xfrm>
                <a:off x="3282550" y="4325510"/>
                <a:ext cx="2630842" cy="1849866"/>
              </a:xfrm>
              <a:custGeom>
                <a:avLst/>
                <a:gdLst>
                  <a:gd name="connsiteX0" fmla="*/ 1313071 w 2630842"/>
                  <a:gd name="connsiteY0" fmla="*/ 1643491 h 1849866"/>
                  <a:gd name="connsiteX1" fmla="*/ 1256141 w 2630842"/>
                  <a:gd name="connsiteY1" fmla="*/ 1704576 h 1849866"/>
                  <a:gd name="connsiteX2" fmla="*/ 1317249 w 2630842"/>
                  <a:gd name="connsiteY2" fmla="*/ 1761519 h 1849866"/>
                  <a:gd name="connsiteX3" fmla="*/ 1375224 w 2630842"/>
                  <a:gd name="connsiteY3" fmla="*/ 1701987 h 1849866"/>
                  <a:gd name="connsiteX4" fmla="*/ 1315682 w 2630842"/>
                  <a:gd name="connsiteY4" fmla="*/ 1643491 h 1849866"/>
                  <a:gd name="connsiteX5" fmla="*/ 238867 w 2630842"/>
                  <a:gd name="connsiteY5" fmla="*/ 103379 h 1849866"/>
                  <a:gd name="connsiteX6" fmla="*/ 120673 w 2630842"/>
                  <a:gd name="connsiteY6" fmla="*/ 218746 h 1849866"/>
                  <a:gd name="connsiteX7" fmla="*/ 120673 w 2630842"/>
                  <a:gd name="connsiteY7" fmla="*/ 1440812 h 1849866"/>
                  <a:gd name="connsiteX8" fmla="*/ 238867 w 2630842"/>
                  <a:gd name="connsiteY8" fmla="*/ 1556178 h 1849866"/>
                  <a:gd name="connsiteX9" fmla="*/ 2391976 w 2630842"/>
                  <a:gd name="connsiteY9" fmla="*/ 1556178 h 1849866"/>
                  <a:gd name="connsiteX10" fmla="*/ 2510169 w 2630842"/>
                  <a:gd name="connsiteY10" fmla="*/ 1440812 h 1849866"/>
                  <a:gd name="connsiteX11" fmla="*/ 2510169 w 2630842"/>
                  <a:gd name="connsiteY11" fmla="*/ 218746 h 1849866"/>
                  <a:gd name="connsiteX12" fmla="*/ 2391976 w 2630842"/>
                  <a:gd name="connsiteY12" fmla="*/ 103379 h 1849866"/>
                  <a:gd name="connsiteX13" fmla="*/ 241261 w 2630842"/>
                  <a:gd name="connsiteY13" fmla="*/ 0 h 1849866"/>
                  <a:gd name="connsiteX14" fmla="*/ 2389581 w 2630842"/>
                  <a:gd name="connsiteY14" fmla="*/ 0 h 1849866"/>
                  <a:gd name="connsiteX15" fmla="*/ 2630842 w 2630842"/>
                  <a:gd name="connsiteY15" fmla="*/ 235252 h 1849866"/>
                  <a:gd name="connsiteX16" fmla="*/ 2630842 w 2630842"/>
                  <a:gd name="connsiteY16" fmla="*/ 1615125 h 1849866"/>
                  <a:gd name="connsiteX17" fmla="*/ 2389581 w 2630842"/>
                  <a:gd name="connsiteY17" fmla="*/ 1849866 h 1849866"/>
                  <a:gd name="connsiteX18" fmla="*/ 241261 w 2630842"/>
                  <a:gd name="connsiteY18" fmla="*/ 1849866 h 1849866"/>
                  <a:gd name="connsiteX19" fmla="*/ 0 w 2630842"/>
                  <a:gd name="connsiteY19" fmla="*/ 1615125 h 1849866"/>
                  <a:gd name="connsiteX20" fmla="*/ 0 w 2630842"/>
                  <a:gd name="connsiteY20" fmla="*/ 235252 h 1849866"/>
                  <a:gd name="connsiteX21" fmla="*/ 241261 w 2630842"/>
                  <a:gd name="connsiteY21" fmla="*/ 0 h 184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0842" h="1849866">
                    <a:moveTo>
                      <a:pt x="1313071" y="1643491"/>
                    </a:moveTo>
                    <a:cubicBezTo>
                      <a:pt x="1280166" y="1645044"/>
                      <a:pt x="1255096" y="1671963"/>
                      <a:pt x="1256141" y="1704576"/>
                    </a:cubicBezTo>
                    <a:cubicBezTo>
                      <a:pt x="1257185" y="1737189"/>
                      <a:pt x="1284345" y="1762554"/>
                      <a:pt x="1317249" y="1761519"/>
                    </a:cubicBezTo>
                    <a:cubicBezTo>
                      <a:pt x="1349632" y="1761001"/>
                      <a:pt x="1375746" y="1734083"/>
                      <a:pt x="1375224" y="1701987"/>
                    </a:cubicBezTo>
                    <a:cubicBezTo>
                      <a:pt x="1374702" y="1669375"/>
                      <a:pt x="1348065" y="1643491"/>
                      <a:pt x="1315682" y="1643491"/>
                    </a:cubicBezTo>
                    <a:close/>
                    <a:moveTo>
                      <a:pt x="238867" y="103379"/>
                    </a:moveTo>
                    <a:cubicBezTo>
                      <a:pt x="173494" y="103379"/>
                      <a:pt x="120673" y="154937"/>
                      <a:pt x="120673" y="218746"/>
                    </a:cubicBezTo>
                    <a:lnTo>
                      <a:pt x="120673" y="1440812"/>
                    </a:lnTo>
                    <a:cubicBezTo>
                      <a:pt x="120673" y="1504621"/>
                      <a:pt x="173494" y="1556178"/>
                      <a:pt x="238867" y="1556178"/>
                    </a:cubicBezTo>
                    <a:lnTo>
                      <a:pt x="2391976" y="1556178"/>
                    </a:lnTo>
                    <a:cubicBezTo>
                      <a:pt x="2457348" y="1556178"/>
                      <a:pt x="2510169" y="1504621"/>
                      <a:pt x="2510169" y="1440812"/>
                    </a:cubicBezTo>
                    <a:lnTo>
                      <a:pt x="2510169" y="218746"/>
                    </a:lnTo>
                    <a:cubicBezTo>
                      <a:pt x="2510169" y="154937"/>
                      <a:pt x="2457348" y="103379"/>
                      <a:pt x="2391976" y="103379"/>
                    </a:cubicBezTo>
                    <a:close/>
                    <a:moveTo>
                      <a:pt x="241261" y="0"/>
                    </a:moveTo>
                    <a:lnTo>
                      <a:pt x="2389581" y="0"/>
                    </a:lnTo>
                    <a:cubicBezTo>
                      <a:pt x="2523034" y="0"/>
                      <a:pt x="2630842" y="105124"/>
                      <a:pt x="2630842" y="235252"/>
                    </a:cubicBezTo>
                    <a:lnTo>
                      <a:pt x="2630842" y="1615125"/>
                    </a:lnTo>
                    <a:cubicBezTo>
                      <a:pt x="2630842" y="1745253"/>
                      <a:pt x="2523034" y="1849866"/>
                      <a:pt x="2389581" y="1849866"/>
                    </a:cubicBezTo>
                    <a:lnTo>
                      <a:pt x="241261" y="1849866"/>
                    </a:lnTo>
                    <a:cubicBezTo>
                      <a:pt x="107809" y="1849866"/>
                      <a:pt x="0" y="1745253"/>
                      <a:pt x="0" y="1615125"/>
                    </a:cubicBezTo>
                    <a:lnTo>
                      <a:pt x="0" y="235252"/>
                    </a:lnTo>
                    <a:cubicBezTo>
                      <a:pt x="0" y="105124"/>
                      <a:pt x="107809" y="0"/>
                      <a:pt x="241261"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Freeform 419">
                <a:extLst>
                  <a:ext uri="{FF2B5EF4-FFF2-40B4-BE49-F238E27FC236}">
                    <a16:creationId xmlns:a16="http://schemas.microsoft.com/office/drawing/2014/main" id="{4B46BB2F-AB44-46E3-8895-136F65FE77D6}"/>
                  </a:ext>
                </a:extLst>
              </p:cNvPr>
              <p:cNvSpPr>
                <a:spLocks/>
              </p:cNvSpPr>
              <p:nvPr/>
            </p:nvSpPr>
            <p:spPr bwMode="auto">
              <a:xfrm>
                <a:off x="4110609" y="6289703"/>
                <a:ext cx="974725" cy="403225"/>
              </a:xfrm>
              <a:custGeom>
                <a:avLst/>
                <a:gdLst>
                  <a:gd name="T0" fmla="*/ 554 w 1876"/>
                  <a:gd name="T1" fmla="*/ 0 h 776"/>
                  <a:gd name="T2" fmla="*/ 460 w 1876"/>
                  <a:gd name="T3" fmla="*/ 93 h 776"/>
                  <a:gd name="T4" fmla="*/ 460 w 1876"/>
                  <a:gd name="T5" fmla="*/ 502 h 776"/>
                  <a:gd name="T6" fmla="*/ 113 w 1876"/>
                  <a:gd name="T7" fmla="*/ 502 h 776"/>
                  <a:gd name="T8" fmla="*/ 0 w 1876"/>
                  <a:gd name="T9" fmla="*/ 615 h 776"/>
                  <a:gd name="T10" fmla="*/ 0 w 1876"/>
                  <a:gd name="T11" fmla="*/ 663 h 776"/>
                  <a:gd name="T12" fmla="*/ 113 w 1876"/>
                  <a:gd name="T13" fmla="*/ 776 h 776"/>
                  <a:gd name="T14" fmla="*/ 1764 w 1876"/>
                  <a:gd name="T15" fmla="*/ 776 h 776"/>
                  <a:gd name="T16" fmla="*/ 1876 w 1876"/>
                  <a:gd name="T17" fmla="*/ 663 h 776"/>
                  <a:gd name="T18" fmla="*/ 1876 w 1876"/>
                  <a:gd name="T19" fmla="*/ 615 h 776"/>
                  <a:gd name="T20" fmla="*/ 1764 w 1876"/>
                  <a:gd name="T21" fmla="*/ 502 h 776"/>
                  <a:gd name="T22" fmla="*/ 1420 w 1876"/>
                  <a:gd name="T23" fmla="*/ 502 h 776"/>
                  <a:gd name="T24" fmla="*/ 1420 w 1876"/>
                  <a:gd name="T25" fmla="*/ 93 h 776"/>
                  <a:gd name="T26" fmla="*/ 1327 w 1876"/>
                  <a:gd name="T27" fmla="*/ 0 h 776"/>
                  <a:gd name="T28" fmla="*/ 554 w 1876"/>
                  <a:gd name="T29"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6" h="776">
                    <a:moveTo>
                      <a:pt x="554" y="0"/>
                    </a:moveTo>
                    <a:cubicBezTo>
                      <a:pt x="502" y="0"/>
                      <a:pt x="460" y="42"/>
                      <a:pt x="460" y="93"/>
                    </a:cubicBezTo>
                    <a:lnTo>
                      <a:pt x="460" y="502"/>
                    </a:lnTo>
                    <a:lnTo>
                      <a:pt x="113" y="502"/>
                    </a:lnTo>
                    <a:cubicBezTo>
                      <a:pt x="50" y="502"/>
                      <a:pt x="0" y="553"/>
                      <a:pt x="0" y="615"/>
                    </a:cubicBezTo>
                    <a:lnTo>
                      <a:pt x="0" y="663"/>
                    </a:lnTo>
                    <a:cubicBezTo>
                      <a:pt x="0" y="726"/>
                      <a:pt x="50" y="776"/>
                      <a:pt x="113" y="776"/>
                    </a:cubicBezTo>
                    <a:lnTo>
                      <a:pt x="1764" y="776"/>
                    </a:lnTo>
                    <a:cubicBezTo>
                      <a:pt x="1826" y="776"/>
                      <a:pt x="1876" y="726"/>
                      <a:pt x="1876" y="663"/>
                    </a:cubicBezTo>
                    <a:lnTo>
                      <a:pt x="1876" y="615"/>
                    </a:lnTo>
                    <a:cubicBezTo>
                      <a:pt x="1876" y="553"/>
                      <a:pt x="1826" y="502"/>
                      <a:pt x="1764" y="502"/>
                    </a:cubicBezTo>
                    <a:lnTo>
                      <a:pt x="1420" y="502"/>
                    </a:lnTo>
                    <a:lnTo>
                      <a:pt x="1420" y="93"/>
                    </a:lnTo>
                    <a:cubicBezTo>
                      <a:pt x="1420" y="42"/>
                      <a:pt x="1379" y="0"/>
                      <a:pt x="1327" y="0"/>
                    </a:cubicBezTo>
                    <a:lnTo>
                      <a:pt x="55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6" name="Target">
              <a:extLst>
                <a:ext uri="{FF2B5EF4-FFF2-40B4-BE49-F238E27FC236}">
                  <a16:creationId xmlns:a16="http://schemas.microsoft.com/office/drawing/2014/main" id="{5CDD4E25-F4C5-4E84-A3E2-51267E9FEAB1}"/>
                </a:ext>
              </a:extLst>
            </p:cNvPr>
            <p:cNvSpPr>
              <a:spLocks/>
            </p:cNvSpPr>
            <p:nvPr>
              <p:custDataLst>
                <p:tags r:id="rId3"/>
              </p:custDataLst>
            </p:nvPr>
          </p:nvSpPr>
          <p:spPr bwMode="auto">
            <a:xfrm rot="3331643">
              <a:off x="8370420" y="2622889"/>
              <a:ext cx="415833" cy="682269"/>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arget">
              <a:extLst>
                <a:ext uri="{FF2B5EF4-FFF2-40B4-BE49-F238E27FC236}">
                  <a16:creationId xmlns:a16="http://schemas.microsoft.com/office/drawing/2014/main" id="{1C75EAEA-546F-4E29-84BE-E4B152F6F39B}"/>
                </a:ext>
              </a:extLst>
            </p:cNvPr>
            <p:cNvSpPr>
              <a:spLocks/>
            </p:cNvSpPr>
            <p:nvPr>
              <p:custDataLst>
                <p:tags r:id="rId4"/>
              </p:custDataLst>
            </p:nvPr>
          </p:nvSpPr>
          <p:spPr bwMode="auto">
            <a:xfrm rot="10560000">
              <a:off x="9777831" y="2611170"/>
              <a:ext cx="415833" cy="682269"/>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8" name="Computer5">
              <a:extLst>
                <a:ext uri="{FF2B5EF4-FFF2-40B4-BE49-F238E27FC236}">
                  <a16:creationId xmlns:a16="http://schemas.microsoft.com/office/drawing/2014/main" id="{AC57E8AB-4D23-4B24-B5E6-A9793A598EE1}"/>
                </a:ext>
              </a:extLst>
            </p:cNvPr>
            <p:cNvGrpSpPr>
              <a:grpSpLocks noChangeAspect="1"/>
            </p:cNvGrpSpPr>
            <p:nvPr>
              <p:custDataLst>
                <p:tags r:id="rId5"/>
              </p:custDataLst>
            </p:nvPr>
          </p:nvGrpSpPr>
          <p:grpSpPr>
            <a:xfrm>
              <a:off x="9504696" y="3399291"/>
              <a:ext cx="684506" cy="597218"/>
              <a:chOff x="3180521" y="4219534"/>
              <a:chExt cx="2834901" cy="2473394"/>
            </a:xfrm>
            <a:solidFill>
              <a:schemeClr val="accent1"/>
            </a:solidFill>
          </p:grpSpPr>
          <p:sp>
            <p:nvSpPr>
              <p:cNvPr id="24" name="Freeform: Shape 1347">
                <a:extLst>
                  <a:ext uri="{FF2B5EF4-FFF2-40B4-BE49-F238E27FC236}">
                    <a16:creationId xmlns:a16="http://schemas.microsoft.com/office/drawing/2014/main" id="{094B418C-E844-4316-921D-085589C2D008}"/>
                  </a:ext>
                </a:extLst>
              </p:cNvPr>
              <p:cNvSpPr>
                <a:spLocks noChangeAspect="1"/>
              </p:cNvSpPr>
              <p:nvPr/>
            </p:nvSpPr>
            <p:spPr bwMode="auto">
              <a:xfrm>
                <a:off x="3180521" y="4219534"/>
                <a:ext cx="2834901" cy="2052000"/>
              </a:xfrm>
              <a:custGeom>
                <a:avLst/>
                <a:gdLst>
                  <a:gd name="connsiteX0" fmla="*/ 294147 w 2695575"/>
                  <a:gd name="connsiteY0" fmla="*/ 64677 h 1985963"/>
                  <a:gd name="connsiteX1" fmla="*/ 51787 w 2695575"/>
                  <a:gd name="connsiteY1" fmla="*/ 300707 h 1985963"/>
                  <a:gd name="connsiteX2" fmla="*/ 51787 w 2695575"/>
                  <a:gd name="connsiteY2" fmla="*/ 1685255 h 1985963"/>
                  <a:gd name="connsiteX3" fmla="*/ 294147 w 2695575"/>
                  <a:gd name="connsiteY3" fmla="*/ 1921285 h 1985963"/>
                  <a:gd name="connsiteX4" fmla="*/ 2401427 w 2695575"/>
                  <a:gd name="connsiteY4" fmla="*/ 1921285 h 1985963"/>
                  <a:gd name="connsiteX5" fmla="*/ 2643787 w 2695575"/>
                  <a:gd name="connsiteY5" fmla="*/ 1685255 h 1985963"/>
                  <a:gd name="connsiteX6" fmla="*/ 2643787 w 2695575"/>
                  <a:gd name="connsiteY6" fmla="*/ 300707 h 1985963"/>
                  <a:gd name="connsiteX7" fmla="*/ 2401427 w 2695575"/>
                  <a:gd name="connsiteY7" fmla="*/ 64677 h 1985963"/>
                  <a:gd name="connsiteX8" fmla="*/ 252044 w 2695575"/>
                  <a:gd name="connsiteY8" fmla="*/ 0 h 1985963"/>
                  <a:gd name="connsiteX9" fmla="*/ 2443531 w 2695575"/>
                  <a:gd name="connsiteY9" fmla="*/ 0 h 1985963"/>
                  <a:gd name="connsiteX10" fmla="*/ 2695575 w 2695575"/>
                  <a:gd name="connsiteY10" fmla="*/ 252475 h 1985963"/>
                  <a:gd name="connsiteX11" fmla="*/ 2695575 w 2695575"/>
                  <a:gd name="connsiteY11" fmla="*/ 1733488 h 1985963"/>
                  <a:gd name="connsiteX12" fmla="*/ 2443531 w 2695575"/>
                  <a:gd name="connsiteY12" fmla="*/ 1985963 h 1985963"/>
                  <a:gd name="connsiteX13" fmla="*/ 252044 w 2695575"/>
                  <a:gd name="connsiteY13" fmla="*/ 1985963 h 1985963"/>
                  <a:gd name="connsiteX14" fmla="*/ 0 w 2695575"/>
                  <a:gd name="connsiteY14" fmla="*/ 1733488 h 1985963"/>
                  <a:gd name="connsiteX15" fmla="*/ 0 w 2695575"/>
                  <a:gd name="connsiteY15" fmla="*/ 252475 h 1985963"/>
                  <a:gd name="connsiteX16" fmla="*/ 252044 w 2695575"/>
                  <a:gd name="connsiteY16" fmla="*/ 0 h 198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5575" h="1985963">
                    <a:moveTo>
                      <a:pt x="294147" y="64677"/>
                    </a:moveTo>
                    <a:cubicBezTo>
                      <a:pt x="160224" y="64677"/>
                      <a:pt x="51787" y="169796"/>
                      <a:pt x="51787" y="300707"/>
                    </a:cubicBezTo>
                    <a:lnTo>
                      <a:pt x="51787" y="1685255"/>
                    </a:lnTo>
                    <a:cubicBezTo>
                      <a:pt x="51787" y="1816167"/>
                      <a:pt x="160224" y="1921285"/>
                      <a:pt x="294147" y="1921285"/>
                    </a:cubicBezTo>
                    <a:lnTo>
                      <a:pt x="2401427" y="1921285"/>
                    </a:lnTo>
                    <a:cubicBezTo>
                      <a:pt x="2535350" y="1921285"/>
                      <a:pt x="2643787" y="1816167"/>
                      <a:pt x="2643787" y="1685255"/>
                    </a:cubicBezTo>
                    <a:lnTo>
                      <a:pt x="2643787" y="300707"/>
                    </a:lnTo>
                    <a:cubicBezTo>
                      <a:pt x="2643787" y="169796"/>
                      <a:pt x="2535350" y="64677"/>
                      <a:pt x="2401427" y="64677"/>
                    </a:cubicBezTo>
                    <a:close/>
                    <a:moveTo>
                      <a:pt x="252044" y="0"/>
                    </a:moveTo>
                    <a:lnTo>
                      <a:pt x="2443531" y="0"/>
                    </a:lnTo>
                    <a:cubicBezTo>
                      <a:pt x="2582805" y="0"/>
                      <a:pt x="2695575" y="112443"/>
                      <a:pt x="2695575" y="252475"/>
                    </a:cubicBezTo>
                    <a:lnTo>
                      <a:pt x="2695575" y="1733488"/>
                    </a:lnTo>
                    <a:cubicBezTo>
                      <a:pt x="2695575" y="1873521"/>
                      <a:pt x="2582805" y="1985963"/>
                      <a:pt x="2443531" y="1985963"/>
                    </a:cubicBezTo>
                    <a:lnTo>
                      <a:pt x="252044" y="1985963"/>
                    </a:lnTo>
                    <a:cubicBezTo>
                      <a:pt x="112770" y="1985963"/>
                      <a:pt x="0" y="1873521"/>
                      <a:pt x="0" y="1733488"/>
                    </a:cubicBezTo>
                    <a:lnTo>
                      <a:pt x="0" y="252475"/>
                    </a:lnTo>
                    <a:cubicBezTo>
                      <a:pt x="0" y="112443"/>
                      <a:pt x="112770" y="0"/>
                      <a:pt x="252044"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Freeform: Shape 1351">
                <a:extLst>
                  <a:ext uri="{FF2B5EF4-FFF2-40B4-BE49-F238E27FC236}">
                    <a16:creationId xmlns:a16="http://schemas.microsoft.com/office/drawing/2014/main" id="{9F9CC6C2-8EA7-4642-84AF-3BE49C124CFF}"/>
                  </a:ext>
                </a:extLst>
              </p:cNvPr>
              <p:cNvSpPr>
                <a:spLocks/>
              </p:cNvSpPr>
              <p:nvPr/>
            </p:nvSpPr>
            <p:spPr bwMode="auto">
              <a:xfrm>
                <a:off x="3282550" y="4325510"/>
                <a:ext cx="2630842" cy="1849866"/>
              </a:xfrm>
              <a:custGeom>
                <a:avLst/>
                <a:gdLst>
                  <a:gd name="connsiteX0" fmla="*/ 1313071 w 2630842"/>
                  <a:gd name="connsiteY0" fmla="*/ 1643491 h 1849866"/>
                  <a:gd name="connsiteX1" fmla="*/ 1256141 w 2630842"/>
                  <a:gd name="connsiteY1" fmla="*/ 1704576 h 1849866"/>
                  <a:gd name="connsiteX2" fmla="*/ 1317249 w 2630842"/>
                  <a:gd name="connsiteY2" fmla="*/ 1761519 h 1849866"/>
                  <a:gd name="connsiteX3" fmla="*/ 1375224 w 2630842"/>
                  <a:gd name="connsiteY3" fmla="*/ 1701987 h 1849866"/>
                  <a:gd name="connsiteX4" fmla="*/ 1315682 w 2630842"/>
                  <a:gd name="connsiteY4" fmla="*/ 1643491 h 1849866"/>
                  <a:gd name="connsiteX5" fmla="*/ 238867 w 2630842"/>
                  <a:gd name="connsiteY5" fmla="*/ 103379 h 1849866"/>
                  <a:gd name="connsiteX6" fmla="*/ 120673 w 2630842"/>
                  <a:gd name="connsiteY6" fmla="*/ 218746 h 1849866"/>
                  <a:gd name="connsiteX7" fmla="*/ 120673 w 2630842"/>
                  <a:gd name="connsiteY7" fmla="*/ 1440812 h 1849866"/>
                  <a:gd name="connsiteX8" fmla="*/ 238867 w 2630842"/>
                  <a:gd name="connsiteY8" fmla="*/ 1556178 h 1849866"/>
                  <a:gd name="connsiteX9" fmla="*/ 2391976 w 2630842"/>
                  <a:gd name="connsiteY9" fmla="*/ 1556178 h 1849866"/>
                  <a:gd name="connsiteX10" fmla="*/ 2510169 w 2630842"/>
                  <a:gd name="connsiteY10" fmla="*/ 1440812 h 1849866"/>
                  <a:gd name="connsiteX11" fmla="*/ 2510169 w 2630842"/>
                  <a:gd name="connsiteY11" fmla="*/ 218746 h 1849866"/>
                  <a:gd name="connsiteX12" fmla="*/ 2391976 w 2630842"/>
                  <a:gd name="connsiteY12" fmla="*/ 103379 h 1849866"/>
                  <a:gd name="connsiteX13" fmla="*/ 241261 w 2630842"/>
                  <a:gd name="connsiteY13" fmla="*/ 0 h 1849866"/>
                  <a:gd name="connsiteX14" fmla="*/ 2389581 w 2630842"/>
                  <a:gd name="connsiteY14" fmla="*/ 0 h 1849866"/>
                  <a:gd name="connsiteX15" fmla="*/ 2630842 w 2630842"/>
                  <a:gd name="connsiteY15" fmla="*/ 235252 h 1849866"/>
                  <a:gd name="connsiteX16" fmla="*/ 2630842 w 2630842"/>
                  <a:gd name="connsiteY16" fmla="*/ 1615125 h 1849866"/>
                  <a:gd name="connsiteX17" fmla="*/ 2389581 w 2630842"/>
                  <a:gd name="connsiteY17" fmla="*/ 1849866 h 1849866"/>
                  <a:gd name="connsiteX18" fmla="*/ 241261 w 2630842"/>
                  <a:gd name="connsiteY18" fmla="*/ 1849866 h 1849866"/>
                  <a:gd name="connsiteX19" fmla="*/ 0 w 2630842"/>
                  <a:gd name="connsiteY19" fmla="*/ 1615125 h 1849866"/>
                  <a:gd name="connsiteX20" fmla="*/ 0 w 2630842"/>
                  <a:gd name="connsiteY20" fmla="*/ 235252 h 1849866"/>
                  <a:gd name="connsiteX21" fmla="*/ 241261 w 2630842"/>
                  <a:gd name="connsiteY21" fmla="*/ 0 h 184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0842" h="1849866">
                    <a:moveTo>
                      <a:pt x="1313071" y="1643491"/>
                    </a:moveTo>
                    <a:cubicBezTo>
                      <a:pt x="1280166" y="1645044"/>
                      <a:pt x="1255096" y="1671963"/>
                      <a:pt x="1256141" y="1704576"/>
                    </a:cubicBezTo>
                    <a:cubicBezTo>
                      <a:pt x="1257185" y="1737189"/>
                      <a:pt x="1284345" y="1762554"/>
                      <a:pt x="1317249" y="1761519"/>
                    </a:cubicBezTo>
                    <a:cubicBezTo>
                      <a:pt x="1349632" y="1761001"/>
                      <a:pt x="1375746" y="1734083"/>
                      <a:pt x="1375224" y="1701987"/>
                    </a:cubicBezTo>
                    <a:cubicBezTo>
                      <a:pt x="1374702" y="1669375"/>
                      <a:pt x="1348065" y="1643491"/>
                      <a:pt x="1315682" y="1643491"/>
                    </a:cubicBezTo>
                    <a:close/>
                    <a:moveTo>
                      <a:pt x="238867" y="103379"/>
                    </a:moveTo>
                    <a:cubicBezTo>
                      <a:pt x="173494" y="103379"/>
                      <a:pt x="120673" y="154937"/>
                      <a:pt x="120673" y="218746"/>
                    </a:cubicBezTo>
                    <a:lnTo>
                      <a:pt x="120673" y="1440812"/>
                    </a:lnTo>
                    <a:cubicBezTo>
                      <a:pt x="120673" y="1504621"/>
                      <a:pt x="173494" y="1556178"/>
                      <a:pt x="238867" y="1556178"/>
                    </a:cubicBezTo>
                    <a:lnTo>
                      <a:pt x="2391976" y="1556178"/>
                    </a:lnTo>
                    <a:cubicBezTo>
                      <a:pt x="2457348" y="1556178"/>
                      <a:pt x="2510169" y="1504621"/>
                      <a:pt x="2510169" y="1440812"/>
                    </a:cubicBezTo>
                    <a:lnTo>
                      <a:pt x="2510169" y="218746"/>
                    </a:lnTo>
                    <a:cubicBezTo>
                      <a:pt x="2510169" y="154937"/>
                      <a:pt x="2457348" y="103379"/>
                      <a:pt x="2391976" y="103379"/>
                    </a:cubicBezTo>
                    <a:close/>
                    <a:moveTo>
                      <a:pt x="241261" y="0"/>
                    </a:moveTo>
                    <a:lnTo>
                      <a:pt x="2389581" y="0"/>
                    </a:lnTo>
                    <a:cubicBezTo>
                      <a:pt x="2523034" y="0"/>
                      <a:pt x="2630842" y="105124"/>
                      <a:pt x="2630842" y="235252"/>
                    </a:cubicBezTo>
                    <a:lnTo>
                      <a:pt x="2630842" y="1615125"/>
                    </a:lnTo>
                    <a:cubicBezTo>
                      <a:pt x="2630842" y="1745253"/>
                      <a:pt x="2523034" y="1849866"/>
                      <a:pt x="2389581" y="1849866"/>
                    </a:cubicBezTo>
                    <a:lnTo>
                      <a:pt x="241261" y="1849866"/>
                    </a:lnTo>
                    <a:cubicBezTo>
                      <a:pt x="107809" y="1849866"/>
                      <a:pt x="0" y="1745253"/>
                      <a:pt x="0" y="1615125"/>
                    </a:cubicBezTo>
                    <a:lnTo>
                      <a:pt x="0" y="235252"/>
                    </a:lnTo>
                    <a:cubicBezTo>
                      <a:pt x="0" y="105124"/>
                      <a:pt x="107809" y="0"/>
                      <a:pt x="241261"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Freeform 419">
                <a:extLst>
                  <a:ext uri="{FF2B5EF4-FFF2-40B4-BE49-F238E27FC236}">
                    <a16:creationId xmlns:a16="http://schemas.microsoft.com/office/drawing/2014/main" id="{F56FB855-452C-47CA-81BC-60A3EB63CF0B}"/>
                  </a:ext>
                </a:extLst>
              </p:cNvPr>
              <p:cNvSpPr>
                <a:spLocks/>
              </p:cNvSpPr>
              <p:nvPr/>
            </p:nvSpPr>
            <p:spPr bwMode="auto">
              <a:xfrm>
                <a:off x="4110609" y="6289703"/>
                <a:ext cx="974725" cy="403225"/>
              </a:xfrm>
              <a:custGeom>
                <a:avLst/>
                <a:gdLst>
                  <a:gd name="T0" fmla="*/ 554 w 1876"/>
                  <a:gd name="T1" fmla="*/ 0 h 776"/>
                  <a:gd name="T2" fmla="*/ 460 w 1876"/>
                  <a:gd name="T3" fmla="*/ 93 h 776"/>
                  <a:gd name="T4" fmla="*/ 460 w 1876"/>
                  <a:gd name="T5" fmla="*/ 502 h 776"/>
                  <a:gd name="T6" fmla="*/ 113 w 1876"/>
                  <a:gd name="T7" fmla="*/ 502 h 776"/>
                  <a:gd name="T8" fmla="*/ 0 w 1876"/>
                  <a:gd name="T9" fmla="*/ 615 h 776"/>
                  <a:gd name="T10" fmla="*/ 0 w 1876"/>
                  <a:gd name="T11" fmla="*/ 663 h 776"/>
                  <a:gd name="T12" fmla="*/ 113 w 1876"/>
                  <a:gd name="T13" fmla="*/ 776 h 776"/>
                  <a:gd name="T14" fmla="*/ 1764 w 1876"/>
                  <a:gd name="T15" fmla="*/ 776 h 776"/>
                  <a:gd name="T16" fmla="*/ 1876 w 1876"/>
                  <a:gd name="T17" fmla="*/ 663 h 776"/>
                  <a:gd name="T18" fmla="*/ 1876 w 1876"/>
                  <a:gd name="T19" fmla="*/ 615 h 776"/>
                  <a:gd name="T20" fmla="*/ 1764 w 1876"/>
                  <a:gd name="T21" fmla="*/ 502 h 776"/>
                  <a:gd name="T22" fmla="*/ 1420 w 1876"/>
                  <a:gd name="T23" fmla="*/ 502 h 776"/>
                  <a:gd name="T24" fmla="*/ 1420 w 1876"/>
                  <a:gd name="T25" fmla="*/ 93 h 776"/>
                  <a:gd name="T26" fmla="*/ 1327 w 1876"/>
                  <a:gd name="T27" fmla="*/ 0 h 776"/>
                  <a:gd name="T28" fmla="*/ 554 w 1876"/>
                  <a:gd name="T29"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6" h="776">
                    <a:moveTo>
                      <a:pt x="554" y="0"/>
                    </a:moveTo>
                    <a:cubicBezTo>
                      <a:pt x="502" y="0"/>
                      <a:pt x="460" y="42"/>
                      <a:pt x="460" y="93"/>
                    </a:cubicBezTo>
                    <a:lnTo>
                      <a:pt x="460" y="502"/>
                    </a:lnTo>
                    <a:lnTo>
                      <a:pt x="113" y="502"/>
                    </a:lnTo>
                    <a:cubicBezTo>
                      <a:pt x="50" y="502"/>
                      <a:pt x="0" y="553"/>
                      <a:pt x="0" y="615"/>
                    </a:cubicBezTo>
                    <a:lnTo>
                      <a:pt x="0" y="663"/>
                    </a:lnTo>
                    <a:cubicBezTo>
                      <a:pt x="0" y="726"/>
                      <a:pt x="50" y="776"/>
                      <a:pt x="113" y="776"/>
                    </a:cubicBezTo>
                    <a:lnTo>
                      <a:pt x="1764" y="776"/>
                    </a:lnTo>
                    <a:cubicBezTo>
                      <a:pt x="1826" y="776"/>
                      <a:pt x="1876" y="726"/>
                      <a:pt x="1876" y="663"/>
                    </a:cubicBezTo>
                    <a:lnTo>
                      <a:pt x="1876" y="615"/>
                    </a:lnTo>
                    <a:cubicBezTo>
                      <a:pt x="1876" y="553"/>
                      <a:pt x="1826" y="502"/>
                      <a:pt x="1764" y="502"/>
                    </a:cubicBezTo>
                    <a:lnTo>
                      <a:pt x="1420" y="502"/>
                    </a:lnTo>
                    <a:lnTo>
                      <a:pt x="1420" y="93"/>
                    </a:lnTo>
                    <a:cubicBezTo>
                      <a:pt x="1420" y="42"/>
                      <a:pt x="1379" y="0"/>
                      <a:pt x="1327" y="0"/>
                    </a:cubicBezTo>
                    <a:lnTo>
                      <a:pt x="55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9" name="Computer5">
              <a:extLst>
                <a:ext uri="{FF2B5EF4-FFF2-40B4-BE49-F238E27FC236}">
                  <a16:creationId xmlns:a16="http://schemas.microsoft.com/office/drawing/2014/main" id="{3844C830-6BD6-405E-93F0-FF05A6DEA2DC}"/>
                </a:ext>
              </a:extLst>
            </p:cNvPr>
            <p:cNvGrpSpPr>
              <a:grpSpLocks noChangeAspect="1"/>
            </p:cNvGrpSpPr>
            <p:nvPr>
              <p:custDataLst>
                <p:tags r:id="rId6"/>
              </p:custDataLst>
            </p:nvPr>
          </p:nvGrpSpPr>
          <p:grpSpPr>
            <a:xfrm>
              <a:off x="8973634" y="2395137"/>
              <a:ext cx="684506" cy="597218"/>
              <a:chOff x="3180521" y="4219534"/>
              <a:chExt cx="2834901" cy="2473394"/>
            </a:xfrm>
            <a:solidFill>
              <a:schemeClr val="accent1"/>
            </a:solidFill>
          </p:grpSpPr>
          <p:sp>
            <p:nvSpPr>
              <p:cNvPr id="21" name="Freeform: Shape 1347">
                <a:extLst>
                  <a:ext uri="{FF2B5EF4-FFF2-40B4-BE49-F238E27FC236}">
                    <a16:creationId xmlns:a16="http://schemas.microsoft.com/office/drawing/2014/main" id="{334F4B34-BEDD-4AD1-AC27-4BE65535F56E}"/>
                  </a:ext>
                </a:extLst>
              </p:cNvPr>
              <p:cNvSpPr>
                <a:spLocks noChangeAspect="1"/>
              </p:cNvSpPr>
              <p:nvPr/>
            </p:nvSpPr>
            <p:spPr bwMode="auto">
              <a:xfrm>
                <a:off x="3180521" y="4219534"/>
                <a:ext cx="2834901" cy="2052000"/>
              </a:xfrm>
              <a:custGeom>
                <a:avLst/>
                <a:gdLst>
                  <a:gd name="connsiteX0" fmla="*/ 294147 w 2695575"/>
                  <a:gd name="connsiteY0" fmla="*/ 64677 h 1985963"/>
                  <a:gd name="connsiteX1" fmla="*/ 51787 w 2695575"/>
                  <a:gd name="connsiteY1" fmla="*/ 300707 h 1985963"/>
                  <a:gd name="connsiteX2" fmla="*/ 51787 w 2695575"/>
                  <a:gd name="connsiteY2" fmla="*/ 1685255 h 1985963"/>
                  <a:gd name="connsiteX3" fmla="*/ 294147 w 2695575"/>
                  <a:gd name="connsiteY3" fmla="*/ 1921285 h 1985963"/>
                  <a:gd name="connsiteX4" fmla="*/ 2401427 w 2695575"/>
                  <a:gd name="connsiteY4" fmla="*/ 1921285 h 1985963"/>
                  <a:gd name="connsiteX5" fmla="*/ 2643787 w 2695575"/>
                  <a:gd name="connsiteY5" fmla="*/ 1685255 h 1985963"/>
                  <a:gd name="connsiteX6" fmla="*/ 2643787 w 2695575"/>
                  <a:gd name="connsiteY6" fmla="*/ 300707 h 1985963"/>
                  <a:gd name="connsiteX7" fmla="*/ 2401427 w 2695575"/>
                  <a:gd name="connsiteY7" fmla="*/ 64677 h 1985963"/>
                  <a:gd name="connsiteX8" fmla="*/ 252044 w 2695575"/>
                  <a:gd name="connsiteY8" fmla="*/ 0 h 1985963"/>
                  <a:gd name="connsiteX9" fmla="*/ 2443531 w 2695575"/>
                  <a:gd name="connsiteY9" fmla="*/ 0 h 1985963"/>
                  <a:gd name="connsiteX10" fmla="*/ 2695575 w 2695575"/>
                  <a:gd name="connsiteY10" fmla="*/ 252475 h 1985963"/>
                  <a:gd name="connsiteX11" fmla="*/ 2695575 w 2695575"/>
                  <a:gd name="connsiteY11" fmla="*/ 1733488 h 1985963"/>
                  <a:gd name="connsiteX12" fmla="*/ 2443531 w 2695575"/>
                  <a:gd name="connsiteY12" fmla="*/ 1985963 h 1985963"/>
                  <a:gd name="connsiteX13" fmla="*/ 252044 w 2695575"/>
                  <a:gd name="connsiteY13" fmla="*/ 1985963 h 1985963"/>
                  <a:gd name="connsiteX14" fmla="*/ 0 w 2695575"/>
                  <a:gd name="connsiteY14" fmla="*/ 1733488 h 1985963"/>
                  <a:gd name="connsiteX15" fmla="*/ 0 w 2695575"/>
                  <a:gd name="connsiteY15" fmla="*/ 252475 h 1985963"/>
                  <a:gd name="connsiteX16" fmla="*/ 252044 w 2695575"/>
                  <a:gd name="connsiteY16" fmla="*/ 0 h 1985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95575" h="1985963">
                    <a:moveTo>
                      <a:pt x="294147" y="64677"/>
                    </a:moveTo>
                    <a:cubicBezTo>
                      <a:pt x="160224" y="64677"/>
                      <a:pt x="51787" y="169796"/>
                      <a:pt x="51787" y="300707"/>
                    </a:cubicBezTo>
                    <a:lnTo>
                      <a:pt x="51787" y="1685255"/>
                    </a:lnTo>
                    <a:cubicBezTo>
                      <a:pt x="51787" y="1816167"/>
                      <a:pt x="160224" y="1921285"/>
                      <a:pt x="294147" y="1921285"/>
                    </a:cubicBezTo>
                    <a:lnTo>
                      <a:pt x="2401427" y="1921285"/>
                    </a:lnTo>
                    <a:cubicBezTo>
                      <a:pt x="2535350" y="1921285"/>
                      <a:pt x="2643787" y="1816167"/>
                      <a:pt x="2643787" y="1685255"/>
                    </a:cubicBezTo>
                    <a:lnTo>
                      <a:pt x="2643787" y="300707"/>
                    </a:lnTo>
                    <a:cubicBezTo>
                      <a:pt x="2643787" y="169796"/>
                      <a:pt x="2535350" y="64677"/>
                      <a:pt x="2401427" y="64677"/>
                    </a:cubicBezTo>
                    <a:close/>
                    <a:moveTo>
                      <a:pt x="252044" y="0"/>
                    </a:moveTo>
                    <a:lnTo>
                      <a:pt x="2443531" y="0"/>
                    </a:lnTo>
                    <a:cubicBezTo>
                      <a:pt x="2582805" y="0"/>
                      <a:pt x="2695575" y="112443"/>
                      <a:pt x="2695575" y="252475"/>
                    </a:cubicBezTo>
                    <a:lnTo>
                      <a:pt x="2695575" y="1733488"/>
                    </a:lnTo>
                    <a:cubicBezTo>
                      <a:pt x="2695575" y="1873521"/>
                      <a:pt x="2582805" y="1985963"/>
                      <a:pt x="2443531" y="1985963"/>
                    </a:cubicBezTo>
                    <a:lnTo>
                      <a:pt x="252044" y="1985963"/>
                    </a:lnTo>
                    <a:cubicBezTo>
                      <a:pt x="112770" y="1985963"/>
                      <a:pt x="0" y="1873521"/>
                      <a:pt x="0" y="1733488"/>
                    </a:cubicBezTo>
                    <a:lnTo>
                      <a:pt x="0" y="252475"/>
                    </a:lnTo>
                    <a:cubicBezTo>
                      <a:pt x="0" y="112443"/>
                      <a:pt x="112770" y="0"/>
                      <a:pt x="252044"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Freeform: Shape 1351">
                <a:extLst>
                  <a:ext uri="{FF2B5EF4-FFF2-40B4-BE49-F238E27FC236}">
                    <a16:creationId xmlns:a16="http://schemas.microsoft.com/office/drawing/2014/main" id="{A2BB9ED8-BBD3-4AFD-ABBF-789BF0107608}"/>
                  </a:ext>
                </a:extLst>
              </p:cNvPr>
              <p:cNvSpPr>
                <a:spLocks/>
              </p:cNvSpPr>
              <p:nvPr/>
            </p:nvSpPr>
            <p:spPr bwMode="auto">
              <a:xfrm>
                <a:off x="3282550" y="4325510"/>
                <a:ext cx="2630842" cy="1849866"/>
              </a:xfrm>
              <a:custGeom>
                <a:avLst/>
                <a:gdLst>
                  <a:gd name="connsiteX0" fmla="*/ 1313071 w 2630842"/>
                  <a:gd name="connsiteY0" fmla="*/ 1643491 h 1849866"/>
                  <a:gd name="connsiteX1" fmla="*/ 1256141 w 2630842"/>
                  <a:gd name="connsiteY1" fmla="*/ 1704576 h 1849866"/>
                  <a:gd name="connsiteX2" fmla="*/ 1317249 w 2630842"/>
                  <a:gd name="connsiteY2" fmla="*/ 1761519 h 1849866"/>
                  <a:gd name="connsiteX3" fmla="*/ 1375224 w 2630842"/>
                  <a:gd name="connsiteY3" fmla="*/ 1701987 h 1849866"/>
                  <a:gd name="connsiteX4" fmla="*/ 1315682 w 2630842"/>
                  <a:gd name="connsiteY4" fmla="*/ 1643491 h 1849866"/>
                  <a:gd name="connsiteX5" fmla="*/ 238867 w 2630842"/>
                  <a:gd name="connsiteY5" fmla="*/ 103379 h 1849866"/>
                  <a:gd name="connsiteX6" fmla="*/ 120673 w 2630842"/>
                  <a:gd name="connsiteY6" fmla="*/ 218746 h 1849866"/>
                  <a:gd name="connsiteX7" fmla="*/ 120673 w 2630842"/>
                  <a:gd name="connsiteY7" fmla="*/ 1440812 h 1849866"/>
                  <a:gd name="connsiteX8" fmla="*/ 238867 w 2630842"/>
                  <a:gd name="connsiteY8" fmla="*/ 1556178 h 1849866"/>
                  <a:gd name="connsiteX9" fmla="*/ 2391976 w 2630842"/>
                  <a:gd name="connsiteY9" fmla="*/ 1556178 h 1849866"/>
                  <a:gd name="connsiteX10" fmla="*/ 2510169 w 2630842"/>
                  <a:gd name="connsiteY10" fmla="*/ 1440812 h 1849866"/>
                  <a:gd name="connsiteX11" fmla="*/ 2510169 w 2630842"/>
                  <a:gd name="connsiteY11" fmla="*/ 218746 h 1849866"/>
                  <a:gd name="connsiteX12" fmla="*/ 2391976 w 2630842"/>
                  <a:gd name="connsiteY12" fmla="*/ 103379 h 1849866"/>
                  <a:gd name="connsiteX13" fmla="*/ 241261 w 2630842"/>
                  <a:gd name="connsiteY13" fmla="*/ 0 h 1849866"/>
                  <a:gd name="connsiteX14" fmla="*/ 2389581 w 2630842"/>
                  <a:gd name="connsiteY14" fmla="*/ 0 h 1849866"/>
                  <a:gd name="connsiteX15" fmla="*/ 2630842 w 2630842"/>
                  <a:gd name="connsiteY15" fmla="*/ 235252 h 1849866"/>
                  <a:gd name="connsiteX16" fmla="*/ 2630842 w 2630842"/>
                  <a:gd name="connsiteY16" fmla="*/ 1615125 h 1849866"/>
                  <a:gd name="connsiteX17" fmla="*/ 2389581 w 2630842"/>
                  <a:gd name="connsiteY17" fmla="*/ 1849866 h 1849866"/>
                  <a:gd name="connsiteX18" fmla="*/ 241261 w 2630842"/>
                  <a:gd name="connsiteY18" fmla="*/ 1849866 h 1849866"/>
                  <a:gd name="connsiteX19" fmla="*/ 0 w 2630842"/>
                  <a:gd name="connsiteY19" fmla="*/ 1615125 h 1849866"/>
                  <a:gd name="connsiteX20" fmla="*/ 0 w 2630842"/>
                  <a:gd name="connsiteY20" fmla="*/ 235252 h 1849866"/>
                  <a:gd name="connsiteX21" fmla="*/ 241261 w 2630842"/>
                  <a:gd name="connsiteY21" fmla="*/ 0 h 184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0842" h="1849866">
                    <a:moveTo>
                      <a:pt x="1313071" y="1643491"/>
                    </a:moveTo>
                    <a:cubicBezTo>
                      <a:pt x="1280166" y="1645044"/>
                      <a:pt x="1255096" y="1671963"/>
                      <a:pt x="1256141" y="1704576"/>
                    </a:cubicBezTo>
                    <a:cubicBezTo>
                      <a:pt x="1257185" y="1737189"/>
                      <a:pt x="1284345" y="1762554"/>
                      <a:pt x="1317249" y="1761519"/>
                    </a:cubicBezTo>
                    <a:cubicBezTo>
                      <a:pt x="1349632" y="1761001"/>
                      <a:pt x="1375746" y="1734083"/>
                      <a:pt x="1375224" y="1701987"/>
                    </a:cubicBezTo>
                    <a:cubicBezTo>
                      <a:pt x="1374702" y="1669375"/>
                      <a:pt x="1348065" y="1643491"/>
                      <a:pt x="1315682" y="1643491"/>
                    </a:cubicBezTo>
                    <a:close/>
                    <a:moveTo>
                      <a:pt x="238867" y="103379"/>
                    </a:moveTo>
                    <a:cubicBezTo>
                      <a:pt x="173494" y="103379"/>
                      <a:pt x="120673" y="154937"/>
                      <a:pt x="120673" y="218746"/>
                    </a:cubicBezTo>
                    <a:lnTo>
                      <a:pt x="120673" y="1440812"/>
                    </a:lnTo>
                    <a:cubicBezTo>
                      <a:pt x="120673" y="1504621"/>
                      <a:pt x="173494" y="1556178"/>
                      <a:pt x="238867" y="1556178"/>
                    </a:cubicBezTo>
                    <a:lnTo>
                      <a:pt x="2391976" y="1556178"/>
                    </a:lnTo>
                    <a:cubicBezTo>
                      <a:pt x="2457348" y="1556178"/>
                      <a:pt x="2510169" y="1504621"/>
                      <a:pt x="2510169" y="1440812"/>
                    </a:cubicBezTo>
                    <a:lnTo>
                      <a:pt x="2510169" y="218746"/>
                    </a:lnTo>
                    <a:cubicBezTo>
                      <a:pt x="2510169" y="154937"/>
                      <a:pt x="2457348" y="103379"/>
                      <a:pt x="2391976" y="103379"/>
                    </a:cubicBezTo>
                    <a:close/>
                    <a:moveTo>
                      <a:pt x="241261" y="0"/>
                    </a:moveTo>
                    <a:lnTo>
                      <a:pt x="2389581" y="0"/>
                    </a:lnTo>
                    <a:cubicBezTo>
                      <a:pt x="2523034" y="0"/>
                      <a:pt x="2630842" y="105124"/>
                      <a:pt x="2630842" y="235252"/>
                    </a:cubicBezTo>
                    <a:lnTo>
                      <a:pt x="2630842" y="1615125"/>
                    </a:lnTo>
                    <a:cubicBezTo>
                      <a:pt x="2630842" y="1745253"/>
                      <a:pt x="2523034" y="1849866"/>
                      <a:pt x="2389581" y="1849866"/>
                    </a:cubicBezTo>
                    <a:lnTo>
                      <a:pt x="241261" y="1849866"/>
                    </a:lnTo>
                    <a:cubicBezTo>
                      <a:pt x="107809" y="1849866"/>
                      <a:pt x="0" y="1745253"/>
                      <a:pt x="0" y="1615125"/>
                    </a:cubicBezTo>
                    <a:lnTo>
                      <a:pt x="0" y="235252"/>
                    </a:lnTo>
                    <a:cubicBezTo>
                      <a:pt x="0" y="105124"/>
                      <a:pt x="107809" y="0"/>
                      <a:pt x="241261"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Freeform 419">
                <a:extLst>
                  <a:ext uri="{FF2B5EF4-FFF2-40B4-BE49-F238E27FC236}">
                    <a16:creationId xmlns:a16="http://schemas.microsoft.com/office/drawing/2014/main" id="{97CCE4EA-024B-4DFB-ADB9-A9836F12C3C7}"/>
                  </a:ext>
                </a:extLst>
              </p:cNvPr>
              <p:cNvSpPr>
                <a:spLocks/>
              </p:cNvSpPr>
              <p:nvPr/>
            </p:nvSpPr>
            <p:spPr bwMode="auto">
              <a:xfrm>
                <a:off x="4110609" y="6289703"/>
                <a:ext cx="974725" cy="403225"/>
              </a:xfrm>
              <a:custGeom>
                <a:avLst/>
                <a:gdLst>
                  <a:gd name="T0" fmla="*/ 554 w 1876"/>
                  <a:gd name="T1" fmla="*/ 0 h 776"/>
                  <a:gd name="T2" fmla="*/ 460 w 1876"/>
                  <a:gd name="T3" fmla="*/ 93 h 776"/>
                  <a:gd name="T4" fmla="*/ 460 w 1876"/>
                  <a:gd name="T5" fmla="*/ 502 h 776"/>
                  <a:gd name="T6" fmla="*/ 113 w 1876"/>
                  <a:gd name="T7" fmla="*/ 502 h 776"/>
                  <a:gd name="T8" fmla="*/ 0 w 1876"/>
                  <a:gd name="T9" fmla="*/ 615 h 776"/>
                  <a:gd name="T10" fmla="*/ 0 w 1876"/>
                  <a:gd name="T11" fmla="*/ 663 h 776"/>
                  <a:gd name="T12" fmla="*/ 113 w 1876"/>
                  <a:gd name="T13" fmla="*/ 776 h 776"/>
                  <a:gd name="T14" fmla="*/ 1764 w 1876"/>
                  <a:gd name="T15" fmla="*/ 776 h 776"/>
                  <a:gd name="T16" fmla="*/ 1876 w 1876"/>
                  <a:gd name="T17" fmla="*/ 663 h 776"/>
                  <a:gd name="T18" fmla="*/ 1876 w 1876"/>
                  <a:gd name="T19" fmla="*/ 615 h 776"/>
                  <a:gd name="T20" fmla="*/ 1764 w 1876"/>
                  <a:gd name="T21" fmla="*/ 502 h 776"/>
                  <a:gd name="T22" fmla="*/ 1420 w 1876"/>
                  <a:gd name="T23" fmla="*/ 502 h 776"/>
                  <a:gd name="T24" fmla="*/ 1420 w 1876"/>
                  <a:gd name="T25" fmla="*/ 93 h 776"/>
                  <a:gd name="T26" fmla="*/ 1327 w 1876"/>
                  <a:gd name="T27" fmla="*/ 0 h 776"/>
                  <a:gd name="T28" fmla="*/ 554 w 1876"/>
                  <a:gd name="T29" fmla="*/ 0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76" h="776">
                    <a:moveTo>
                      <a:pt x="554" y="0"/>
                    </a:moveTo>
                    <a:cubicBezTo>
                      <a:pt x="502" y="0"/>
                      <a:pt x="460" y="42"/>
                      <a:pt x="460" y="93"/>
                    </a:cubicBezTo>
                    <a:lnTo>
                      <a:pt x="460" y="502"/>
                    </a:lnTo>
                    <a:lnTo>
                      <a:pt x="113" y="502"/>
                    </a:lnTo>
                    <a:cubicBezTo>
                      <a:pt x="50" y="502"/>
                      <a:pt x="0" y="553"/>
                      <a:pt x="0" y="615"/>
                    </a:cubicBezTo>
                    <a:lnTo>
                      <a:pt x="0" y="663"/>
                    </a:lnTo>
                    <a:cubicBezTo>
                      <a:pt x="0" y="726"/>
                      <a:pt x="50" y="776"/>
                      <a:pt x="113" y="776"/>
                    </a:cubicBezTo>
                    <a:lnTo>
                      <a:pt x="1764" y="776"/>
                    </a:lnTo>
                    <a:cubicBezTo>
                      <a:pt x="1826" y="776"/>
                      <a:pt x="1876" y="726"/>
                      <a:pt x="1876" y="663"/>
                    </a:cubicBezTo>
                    <a:lnTo>
                      <a:pt x="1876" y="615"/>
                    </a:lnTo>
                    <a:cubicBezTo>
                      <a:pt x="1876" y="553"/>
                      <a:pt x="1826" y="502"/>
                      <a:pt x="1764" y="502"/>
                    </a:cubicBezTo>
                    <a:lnTo>
                      <a:pt x="1420" y="502"/>
                    </a:lnTo>
                    <a:lnTo>
                      <a:pt x="1420" y="93"/>
                    </a:lnTo>
                    <a:cubicBezTo>
                      <a:pt x="1420" y="42"/>
                      <a:pt x="1379" y="0"/>
                      <a:pt x="1327" y="0"/>
                    </a:cubicBezTo>
                    <a:lnTo>
                      <a:pt x="554"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0" name="Target">
              <a:extLst>
                <a:ext uri="{FF2B5EF4-FFF2-40B4-BE49-F238E27FC236}">
                  <a16:creationId xmlns:a16="http://schemas.microsoft.com/office/drawing/2014/main" id="{A72864C3-F33E-486F-9DE5-820FB592C1CA}"/>
                </a:ext>
              </a:extLst>
            </p:cNvPr>
            <p:cNvSpPr>
              <a:spLocks/>
            </p:cNvSpPr>
            <p:nvPr>
              <p:custDataLst>
                <p:tags r:id="rId7"/>
              </p:custDataLst>
            </p:nvPr>
          </p:nvSpPr>
          <p:spPr bwMode="auto">
            <a:xfrm rot="17760000">
              <a:off x="9064307" y="3818812"/>
              <a:ext cx="503158" cy="82554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77" name="TextBox 76">
            <a:extLst>
              <a:ext uri="{FF2B5EF4-FFF2-40B4-BE49-F238E27FC236}">
                <a16:creationId xmlns:a16="http://schemas.microsoft.com/office/drawing/2014/main" id="{39906B97-42F4-4C27-AA22-E1A72095E735}"/>
              </a:ext>
            </a:extLst>
          </p:cNvPr>
          <p:cNvSpPr txBox="1"/>
          <p:nvPr/>
        </p:nvSpPr>
        <p:spPr>
          <a:xfrm>
            <a:off x="1397876" y="5686097"/>
            <a:ext cx="3384331" cy="369332"/>
          </a:xfrm>
          <a:prstGeom prst="rect">
            <a:avLst/>
          </a:prstGeom>
          <a:noFill/>
        </p:spPr>
        <p:txBody>
          <a:bodyPr wrap="square" rtlCol="0">
            <a:spAutoFit/>
          </a:bodyPr>
          <a:lstStyle/>
          <a:p>
            <a:r>
              <a:rPr lang="en-US" dirty="0"/>
              <a:t>Client / Workstation - Server</a:t>
            </a:r>
          </a:p>
        </p:txBody>
      </p:sp>
      <p:sp>
        <p:nvSpPr>
          <p:cNvPr id="78" name="TextBox 77">
            <a:extLst>
              <a:ext uri="{FF2B5EF4-FFF2-40B4-BE49-F238E27FC236}">
                <a16:creationId xmlns:a16="http://schemas.microsoft.com/office/drawing/2014/main" id="{F802DFFE-57F1-40FB-B608-7D40A509A415}"/>
              </a:ext>
            </a:extLst>
          </p:cNvPr>
          <p:cNvSpPr txBox="1"/>
          <p:nvPr/>
        </p:nvSpPr>
        <p:spPr>
          <a:xfrm>
            <a:off x="7892219" y="5686097"/>
            <a:ext cx="1826483" cy="369332"/>
          </a:xfrm>
          <a:prstGeom prst="rect">
            <a:avLst/>
          </a:prstGeom>
          <a:noFill/>
        </p:spPr>
        <p:txBody>
          <a:bodyPr wrap="square" rtlCol="0">
            <a:spAutoFit/>
          </a:bodyPr>
          <a:lstStyle/>
          <a:p>
            <a:r>
              <a:rPr lang="en-US" dirty="0"/>
              <a:t>Peer - to - peer </a:t>
            </a:r>
          </a:p>
        </p:txBody>
      </p:sp>
      <p:sp>
        <p:nvSpPr>
          <p:cNvPr id="3" name="Date Placeholder 2">
            <a:extLst>
              <a:ext uri="{FF2B5EF4-FFF2-40B4-BE49-F238E27FC236}">
                <a16:creationId xmlns:a16="http://schemas.microsoft.com/office/drawing/2014/main" id="{099747EC-4247-9262-9ED7-C967BD6AC480}"/>
              </a:ext>
            </a:extLst>
          </p:cNvPr>
          <p:cNvSpPr>
            <a:spLocks noGrp="1"/>
          </p:cNvSpPr>
          <p:nvPr>
            <p:ph type="dt" sz="half" idx="10"/>
          </p:nvPr>
        </p:nvSpPr>
        <p:spPr/>
        <p:txBody>
          <a:bodyPr/>
          <a:lstStyle/>
          <a:p>
            <a:r>
              <a:rPr lang="en-US"/>
              <a:t>12-3-2023</a:t>
            </a:r>
          </a:p>
        </p:txBody>
      </p:sp>
      <p:sp>
        <p:nvSpPr>
          <p:cNvPr id="12" name="Footer Placeholder 11">
            <a:extLst>
              <a:ext uri="{FF2B5EF4-FFF2-40B4-BE49-F238E27FC236}">
                <a16:creationId xmlns:a16="http://schemas.microsoft.com/office/drawing/2014/main" id="{A111E8D2-14AB-E72C-DC68-66A62DAD538F}"/>
              </a:ext>
            </a:extLst>
          </p:cNvPr>
          <p:cNvSpPr>
            <a:spLocks noGrp="1"/>
          </p:cNvSpPr>
          <p:nvPr>
            <p:ph type="ftr" sz="quarter" idx="11"/>
          </p:nvPr>
        </p:nvSpPr>
        <p:spPr/>
        <p:txBody>
          <a:bodyPr/>
          <a:lstStyle/>
          <a:p>
            <a:r>
              <a:rPr lang="en-US"/>
              <a:t>Levture 4</a:t>
            </a:r>
          </a:p>
        </p:txBody>
      </p:sp>
      <p:sp>
        <p:nvSpPr>
          <p:cNvPr id="13" name="Slide Number Placeholder 12">
            <a:extLst>
              <a:ext uri="{FF2B5EF4-FFF2-40B4-BE49-F238E27FC236}">
                <a16:creationId xmlns:a16="http://schemas.microsoft.com/office/drawing/2014/main" id="{3B836FA1-C49A-7272-811C-F222609D6C8F}"/>
              </a:ext>
            </a:extLst>
          </p:cNvPr>
          <p:cNvSpPr>
            <a:spLocks noGrp="1"/>
          </p:cNvSpPr>
          <p:nvPr>
            <p:ph type="sldNum" sz="quarter" idx="12"/>
          </p:nvPr>
        </p:nvSpPr>
        <p:spPr/>
        <p:txBody>
          <a:bodyPr/>
          <a:lstStyle/>
          <a:p>
            <a:fld id="{C925F5E2-2F47-4A96-ABD9-8D26218075D9}" type="slidenum">
              <a:rPr lang="en-US" smtClean="0"/>
              <a:t>3</a:t>
            </a:fld>
            <a:endParaRPr lang="en-US"/>
          </a:p>
        </p:txBody>
      </p:sp>
    </p:spTree>
    <p:extLst>
      <p:ext uri="{BB962C8B-B14F-4D97-AF65-F5344CB8AC3E}">
        <p14:creationId xmlns:p14="http://schemas.microsoft.com/office/powerpoint/2010/main" val="965889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FABAC-8EB6-484E-ABAF-6F8B599EEE75}"/>
              </a:ext>
            </a:extLst>
          </p:cNvPr>
          <p:cNvSpPr>
            <a:spLocks noGrp="1"/>
          </p:cNvSpPr>
          <p:nvPr>
            <p:ph type="title"/>
          </p:nvPr>
        </p:nvSpPr>
        <p:spPr/>
        <p:txBody>
          <a:bodyPr/>
          <a:lstStyle/>
          <a:p>
            <a:r>
              <a:rPr lang="en-US" dirty="0"/>
              <a:t>LAN</a:t>
            </a:r>
          </a:p>
        </p:txBody>
      </p:sp>
      <p:pic>
        <p:nvPicPr>
          <p:cNvPr id="5" name="Content Placeholder 4">
            <a:extLst>
              <a:ext uri="{FF2B5EF4-FFF2-40B4-BE49-F238E27FC236}">
                <a16:creationId xmlns:a16="http://schemas.microsoft.com/office/drawing/2014/main" id="{C0849695-7A6E-4101-849A-A0B89C159448}"/>
              </a:ext>
            </a:extLst>
          </p:cNvPr>
          <p:cNvPicPr>
            <a:picLocks noGrp="1" noChangeAspect="1"/>
          </p:cNvPicPr>
          <p:nvPr>
            <p:ph idx="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2938790" y="1690688"/>
            <a:ext cx="5915025" cy="4219575"/>
          </a:xfrm>
        </p:spPr>
      </p:pic>
      <p:sp>
        <p:nvSpPr>
          <p:cNvPr id="3" name="Date Placeholder 2">
            <a:extLst>
              <a:ext uri="{FF2B5EF4-FFF2-40B4-BE49-F238E27FC236}">
                <a16:creationId xmlns:a16="http://schemas.microsoft.com/office/drawing/2014/main" id="{8CE0AE1C-3A6E-E1AE-61C9-7B4F33FB6762}"/>
              </a:ext>
            </a:extLst>
          </p:cNvPr>
          <p:cNvSpPr>
            <a:spLocks noGrp="1"/>
          </p:cNvSpPr>
          <p:nvPr>
            <p:ph type="dt" sz="half" idx="10"/>
          </p:nvPr>
        </p:nvSpPr>
        <p:spPr/>
        <p:txBody>
          <a:bodyPr/>
          <a:lstStyle/>
          <a:p>
            <a:r>
              <a:rPr lang="en-US"/>
              <a:t>12-3-2023</a:t>
            </a:r>
          </a:p>
        </p:txBody>
      </p:sp>
      <p:sp>
        <p:nvSpPr>
          <p:cNvPr id="4" name="Footer Placeholder 3">
            <a:extLst>
              <a:ext uri="{FF2B5EF4-FFF2-40B4-BE49-F238E27FC236}">
                <a16:creationId xmlns:a16="http://schemas.microsoft.com/office/drawing/2014/main" id="{0C98AE24-5D1D-EEBB-FDEE-1CC1926C0B88}"/>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D00AD0FF-3FC4-2C7B-5DF5-D0A38E7CFFEE}"/>
              </a:ext>
            </a:extLst>
          </p:cNvPr>
          <p:cNvSpPr>
            <a:spLocks noGrp="1"/>
          </p:cNvSpPr>
          <p:nvPr>
            <p:ph type="sldNum" sz="quarter" idx="12"/>
          </p:nvPr>
        </p:nvSpPr>
        <p:spPr/>
        <p:txBody>
          <a:bodyPr/>
          <a:lstStyle/>
          <a:p>
            <a:fld id="{C925F5E2-2F47-4A96-ABD9-8D26218075D9}" type="slidenum">
              <a:rPr lang="en-US" smtClean="0"/>
              <a:t>4</a:t>
            </a:fld>
            <a:endParaRPr lang="en-US"/>
          </a:p>
        </p:txBody>
      </p:sp>
    </p:spTree>
    <p:extLst>
      <p:ext uri="{BB962C8B-B14F-4D97-AF65-F5344CB8AC3E}">
        <p14:creationId xmlns:p14="http://schemas.microsoft.com/office/powerpoint/2010/main" val="2091647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F3958-1F3C-49D6-843D-784CE6AF1997}"/>
              </a:ext>
            </a:extLst>
          </p:cNvPr>
          <p:cNvSpPr>
            <a:spLocks noGrp="1"/>
          </p:cNvSpPr>
          <p:nvPr>
            <p:ph type="title"/>
          </p:nvPr>
        </p:nvSpPr>
        <p:spPr/>
        <p:txBody>
          <a:bodyPr/>
          <a:lstStyle/>
          <a:p>
            <a:r>
              <a:rPr lang="en-US" dirty="0"/>
              <a:t>WAN</a:t>
            </a:r>
          </a:p>
        </p:txBody>
      </p:sp>
      <p:pic>
        <p:nvPicPr>
          <p:cNvPr id="1026" name="Picture 2" descr="WAN (Wide Area Network) - Types, Uses, and Disadvantages">
            <a:extLst>
              <a:ext uri="{FF2B5EF4-FFF2-40B4-BE49-F238E27FC236}">
                <a16:creationId xmlns:a16="http://schemas.microsoft.com/office/drawing/2014/main" id="{8BB30844-EE32-474B-8ECE-62E8A996A7AA}"/>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b="10372"/>
          <a:stretch/>
        </p:blipFill>
        <p:spPr bwMode="auto">
          <a:xfrm>
            <a:off x="2827283" y="1234210"/>
            <a:ext cx="6758151" cy="4966893"/>
          </a:xfrm>
          <a:prstGeom prst="rect">
            <a:avLst/>
          </a:prstGeom>
          <a:noFill/>
          <a:extLst>
            <a:ext uri="{909E8E84-426E-40DD-AFC4-6F175D3DCCD1}">
              <a14:hiddenFill xmlns:a14="http://schemas.microsoft.com/office/drawing/2010/main">
                <a:solidFill>
                  <a:srgbClr val="FFFFFF"/>
                </a:solidFill>
              </a14:hiddenFill>
            </a:ext>
          </a:extLst>
        </p:spPr>
      </p:pic>
      <p:sp>
        <p:nvSpPr>
          <p:cNvPr id="3" name="Date Placeholder 2">
            <a:extLst>
              <a:ext uri="{FF2B5EF4-FFF2-40B4-BE49-F238E27FC236}">
                <a16:creationId xmlns:a16="http://schemas.microsoft.com/office/drawing/2014/main" id="{DEEED24F-327A-A580-7E6F-59E1A0B4D2F8}"/>
              </a:ext>
            </a:extLst>
          </p:cNvPr>
          <p:cNvSpPr>
            <a:spLocks noGrp="1"/>
          </p:cNvSpPr>
          <p:nvPr>
            <p:ph type="dt" sz="half" idx="10"/>
          </p:nvPr>
        </p:nvSpPr>
        <p:spPr/>
        <p:txBody>
          <a:bodyPr/>
          <a:lstStyle/>
          <a:p>
            <a:r>
              <a:rPr lang="en-US"/>
              <a:t>12-3-2023</a:t>
            </a:r>
          </a:p>
        </p:txBody>
      </p:sp>
      <p:sp>
        <p:nvSpPr>
          <p:cNvPr id="4" name="Footer Placeholder 3">
            <a:extLst>
              <a:ext uri="{FF2B5EF4-FFF2-40B4-BE49-F238E27FC236}">
                <a16:creationId xmlns:a16="http://schemas.microsoft.com/office/drawing/2014/main" id="{5C3E2256-7713-C72B-69D8-3568EFC7F6F6}"/>
              </a:ext>
            </a:extLst>
          </p:cNvPr>
          <p:cNvSpPr>
            <a:spLocks noGrp="1"/>
          </p:cNvSpPr>
          <p:nvPr>
            <p:ph type="ftr" sz="quarter" idx="11"/>
          </p:nvPr>
        </p:nvSpPr>
        <p:spPr/>
        <p:txBody>
          <a:bodyPr/>
          <a:lstStyle/>
          <a:p>
            <a:r>
              <a:rPr lang="en-US"/>
              <a:t>Levture 4</a:t>
            </a:r>
          </a:p>
        </p:txBody>
      </p:sp>
      <p:sp>
        <p:nvSpPr>
          <p:cNvPr id="5" name="Slide Number Placeholder 4">
            <a:extLst>
              <a:ext uri="{FF2B5EF4-FFF2-40B4-BE49-F238E27FC236}">
                <a16:creationId xmlns:a16="http://schemas.microsoft.com/office/drawing/2014/main" id="{D07E9AD5-FB8E-0AAD-2865-0D5D3928D9F1}"/>
              </a:ext>
            </a:extLst>
          </p:cNvPr>
          <p:cNvSpPr>
            <a:spLocks noGrp="1"/>
          </p:cNvSpPr>
          <p:nvPr>
            <p:ph type="sldNum" sz="quarter" idx="12"/>
          </p:nvPr>
        </p:nvSpPr>
        <p:spPr/>
        <p:txBody>
          <a:bodyPr/>
          <a:lstStyle/>
          <a:p>
            <a:fld id="{C925F5E2-2F47-4A96-ABD9-8D26218075D9}" type="slidenum">
              <a:rPr lang="en-US" smtClean="0"/>
              <a:t>5</a:t>
            </a:fld>
            <a:endParaRPr lang="en-US"/>
          </a:p>
        </p:txBody>
      </p:sp>
    </p:spTree>
    <p:extLst>
      <p:ext uri="{BB962C8B-B14F-4D97-AF65-F5344CB8AC3E}">
        <p14:creationId xmlns:p14="http://schemas.microsoft.com/office/powerpoint/2010/main" val="3131780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958A8-5349-44B2-BDB3-448E2836F158}"/>
              </a:ext>
            </a:extLst>
          </p:cNvPr>
          <p:cNvSpPr>
            <a:spLocks noGrp="1"/>
          </p:cNvSpPr>
          <p:nvPr>
            <p:ph type="title"/>
          </p:nvPr>
        </p:nvSpPr>
        <p:spPr/>
        <p:txBody>
          <a:bodyPr/>
          <a:lstStyle/>
          <a:p>
            <a:r>
              <a:rPr lang="en-US" dirty="0"/>
              <a:t>Servers</a:t>
            </a:r>
          </a:p>
        </p:txBody>
      </p:sp>
      <p:graphicFrame>
        <p:nvGraphicFramePr>
          <p:cNvPr id="4" name="Content Placeholder 3">
            <a:extLst>
              <a:ext uri="{FF2B5EF4-FFF2-40B4-BE49-F238E27FC236}">
                <a16:creationId xmlns:a16="http://schemas.microsoft.com/office/drawing/2014/main" id="{975D9185-3C1C-41D2-ABC8-827F6AE6CC16}"/>
              </a:ext>
            </a:extLst>
          </p:cNvPr>
          <p:cNvGraphicFramePr>
            <a:graphicFrameLocks noGrp="1"/>
          </p:cNvGraphicFramePr>
          <p:nvPr>
            <p:ph idx="1"/>
            <p:extLst>
              <p:ext uri="{D42A27DB-BD31-4B8C-83A1-F6EECF244321}">
                <p14:modId xmlns:p14="http://schemas.microsoft.com/office/powerpoint/2010/main" val="2260447219"/>
              </p:ext>
            </p:extLst>
          </p:nvPr>
        </p:nvGraphicFramePr>
        <p:xfrm>
          <a:off x="838199" y="1376855"/>
          <a:ext cx="10765221" cy="52236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Date Placeholder 2">
            <a:extLst>
              <a:ext uri="{FF2B5EF4-FFF2-40B4-BE49-F238E27FC236}">
                <a16:creationId xmlns:a16="http://schemas.microsoft.com/office/drawing/2014/main" id="{D9C9DC25-1F9F-E833-1D70-684C4FF77C56}"/>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999B94E6-15E6-9720-C75E-EB0598E05AE9}"/>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679030A1-E901-ED67-98E6-86AE885E8736}"/>
              </a:ext>
            </a:extLst>
          </p:cNvPr>
          <p:cNvSpPr>
            <a:spLocks noGrp="1"/>
          </p:cNvSpPr>
          <p:nvPr>
            <p:ph type="sldNum" sz="quarter" idx="12"/>
          </p:nvPr>
        </p:nvSpPr>
        <p:spPr/>
        <p:txBody>
          <a:bodyPr/>
          <a:lstStyle/>
          <a:p>
            <a:fld id="{C925F5E2-2F47-4A96-ABD9-8D26218075D9}" type="slidenum">
              <a:rPr lang="en-US" smtClean="0"/>
              <a:t>6</a:t>
            </a:fld>
            <a:endParaRPr lang="en-US"/>
          </a:p>
        </p:txBody>
      </p:sp>
    </p:spTree>
    <p:extLst>
      <p:ext uri="{BB962C8B-B14F-4D97-AF65-F5344CB8AC3E}">
        <p14:creationId xmlns:p14="http://schemas.microsoft.com/office/powerpoint/2010/main" val="3223841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C3581-6CF6-44D4-BEBD-84993E38466E}"/>
              </a:ext>
            </a:extLst>
          </p:cNvPr>
          <p:cNvSpPr>
            <a:spLocks noGrp="1"/>
          </p:cNvSpPr>
          <p:nvPr>
            <p:ph type="title"/>
          </p:nvPr>
        </p:nvSpPr>
        <p:spPr/>
        <p:txBody>
          <a:bodyPr/>
          <a:lstStyle/>
          <a:p>
            <a:r>
              <a:rPr lang="en-US" dirty="0"/>
              <a:t>Internet, Intranet, Extranet</a:t>
            </a:r>
          </a:p>
        </p:txBody>
      </p:sp>
      <p:sp>
        <p:nvSpPr>
          <p:cNvPr id="3" name="Content Placeholder 2">
            <a:extLst>
              <a:ext uri="{FF2B5EF4-FFF2-40B4-BE49-F238E27FC236}">
                <a16:creationId xmlns:a16="http://schemas.microsoft.com/office/drawing/2014/main" id="{5216C49E-A30D-47DC-9179-08873238AB0B}"/>
              </a:ext>
            </a:extLst>
          </p:cNvPr>
          <p:cNvSpPr>
            <a:spLocks noGrp="1"/>
          </p:cNvSpPr>
          <p:nvPr>
            <p:ph idx="1"/>
          </p:nvPr>
        </p:nvSpPr>
        <p:spPr>
          <a:xfrm>
            <a:off x="838200" y="1534510"/>
            <a:ext cx="10515600" cy="5044966"/>
          </a:xfrm>
        </p:spPr>
        <p:txBody>
          <a:bodyPr>
            <a:normAutofit lnSpcReduction="10000"/>
          </a:bodyPr>
          <a:lstStyle/>
          <a:p>
            <a:r>
              <a:rPr lang="en-US" b="1" dirty="0"/>
              <a:t>Internet i</a:t>
            </a:r>
            <a:r>
              <a:rPr lang="en-US" dirty="0"/>
              <a:t>s the collection of all computers across the world which can access each other in some way. </a:t>
            </a:r>
          </a:p>
          <a:p>
            <a:r>
              <a:rPr lang="en-US" b="1" dirty="0"/>
              <a:t>Intranet </a:t>
            </a:r>
            <a:r>
              <a:rPr lang="en-US" dirty="0"/>
              <a:t>similar to the Internet in operation. However, it is limited to an organization. Users may browse computers within an intranet using a browser but will usually not be able to access the wider Internet. In the same way, outsiders will not be able to access the intranet of an organization. An intranet can be thought of as a private Internet</a:t>
            </a:r>
          </a:p>
          <a:p>
            <a:r>
              <a:rPr lang="en-US" b="1" dirty="0"/>
              <a:t>Extranet </a:t>
            </a:r>
            <a:r>
              <a:rPr lang="en-US" dirty="0"/>
              <a:t>is an extension of a organization's intranet to include outside users outside organizations or individuals are allowed access to certain parts of the intranet. This access is usually controlled by means of passwords and access rights. The purpose of the extranet is to facilitate business transactions with other organizations. </a:t>
            </a:r>
          </a:p>
        </p:txBody>
      </p:sp>
      <p:sp>
        <p:nvSpPr>
          <p:cNvPr id="4" name="Date Placeholder 3">
            <a:extLst>
              <a:ext uri="{FF2B5EF4-FFF2-40B4-BE49-F238E27FC236}">
                <a16:creationId xmlns:a16="http://schemas.microsoft.com/office/drawing/2014/main" id="{20251AC8-26F7-73F2-6A39-DC3C7189F5F3}"/>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60B88D3F-6122-440A-B8E9-AD5D1F7FBF3F}"/>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A273E296-8F5E-1986-5E43-76E00FC932EF}"/>
              </a:ext>
            </a:extLst>
          </p:cNvPr>
          <p:cNvSpPr>
            <a:spLocks noGrp="1"/>
          </p:cNvSpPr>
          <p:nvPr>
            <p:ph type="sldNum" sz="quarter" idx="12"/>
          </p:nvPr>
        </p:nvSpPr>
        <p:spPr/>
        <p:txBody>
          <a:bodyPr/>
          <a:lstStyle/>
          <a:p>
            <a:fld id="{C925F5E2-2F47-4A96-ABD9-8D26218075D9}" type="slidenum">
              <a:rPr lang="en-US" smtClean="0"/>
              <a:t>7</a:t>
            </a:fld>
            <a:endParaRPr lang="en-US"/>
          </a:p>
        </p:txBody>
      </p:sp>
    </p:spTree>
    <p:extLst>
      <p:ext uri="{BB962C8B-B14F-4D97-AF65-F5344CB8AC3E}">
        <p14:creationId xmlns:p14="http://schemas.microsoft.com/office/powerpoint/2010/main" val="18902687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2C8E3-27E2-4EF4-A64E-260EE6E52ABE}"/>
              </a:ext>
            </a:extLst>
          </p:cNvPr>
          <p:cNvSpPr>
            <a:spLocks noGrp="1"/>
          </p:cNvSpPr>
          <p:nvPr>
            <p:ph type="title"/>
          </p:nvPr>
        </p:nvSpPr>
        <p:spPr>
          <a:xfrm>
            <a:off x="838200" y="365126"/>
            <a:ext cx="10515600" cy="1127344"/>
          </a:xfrm>
        </p:spPr>
        <p:txBody>
          <a:bodyPr/>
          <a:lstStyle/>
          <a:p>
            <a:r>
              <a:rPr lang="en-US" b="1" dirty="0"/>
              <a:t>Internet usage</a:t>
            </a:r>
          </a:p>
        </p:txBody>
      </p:sp>
      <p:sp>
        <p:nvSpPr>
          <p:cNvPr id="3" name="Content Placeholder 2">
            <a:extLst>
              <a:ext uri="{FF2B5EF4-FFF2-40B4-BE49-F238E27FC236}">
                <a16:creationId xmlns:a16="http://schemas.microsoft.com/office/drawing/2014/main" id="{3290C8AF-1D68-4DF0-80C3-A607FB0CA0A8}"/>
              </a:ext>
            </a:extLst>
          </p:cNvPr>
          <p:cNvSpPr>
            <a:spLocks noGrp="1"/>
          </p:cNvSpPr>
          <p:nvPr>
            <p:ph idx="1"/>
          </p:nvPr>
        </p:nvSpPr>
        <p:spPr>
          <a:xfrm>
            <a:off x="838200" y="1492471"/>
            <a:ext cx="5334001" cy="4879146"/>
          </a:xfrm>
        </p:spPr>
        <p:txBody>
          <a:bodyPr>
            <a:normAutofit fontScale="77500" lnSpcReduction="20000"/>
          </a:bodyPr>
          <a:lstStyle/>
          <a:p>
            <a:pPr>
              <a:lnSpc>
                <a:spcPct val="120000"/>
              </a:lnSpc>
            </a:pPr>
            <a:r>
              <a:rPr lang="en-US" dirty="0"/>
              <a:t>Integrate the operations of multinational corporations.</a:t>
            </a:r>
          </a:p>
          <a:p>
            <a:pPr>
              <a:lnSpc>
                <a:spcPct val="120000"/>
              </a:lnSpc>
            </a:pPr>
            <a:r>
              <a:rPr lang="en-US" dirty="0"/>
              <a:t>Provide access to and share information and databases.</a:t>
            </a:r>
          </a:p>
          <a:p>
            <a:pPr>
              <a:lnSpc>
                <a:spcPct val="120000"/>
              </a:lnSpc>
            </a:pPr>
            <a:r>
              <a:rPr lang="en-US" dirty="0"/>
              <a:t>Transfer and share files between computers.</a:t>
            </a:r>
          </a:p>
          <a:p>
            <a:pPr>
              <a:lnSpc>
                <a:spcPct val="120000"/>
              </a:lnSpc>
            </a:pPr>
            <a:r>
              <a:rPr lang="en-US" dirty="0"/>
              <a:t>Facilitate business transactions.</a:t>
            </a:r>
          </a:p>
          <a:p>
            <a:pPr>
              <a:lnSpc>
                <a:spcPct val="120000"/>
              </a:lnSpc>
            </a:pPr>
            <a:r>
              <a:rPr lang="en-US" dirty="0"/>
              <a:t>Share resources.</a:t>
            </a:r>
          </a:p>
          <a:p>
            <a:pPr>
              <a:lnSpc>
                <a:spcPct val="120000"/>
              </a:lnSpc>
            </a:pPr>
            <a:r>
              <a:rPr lang="en-US" dirty="0"/>
              <a:t>Promote scientific co-operation between research institutions.</a:t>
            </a:r>
          </a:p>
          <a:p>
            <a:pPr>
              <a:lnSpc>
                <a:spcPct val="120000"/>
              </a:lnSpc>
            </a:pPr>
            <a:r>
              <a:rPr lang="en-US" dirty="0"/>
              <a:t>Provide a communications channel for the military.</a:t>
            </a:r>
          </a:p>
        </p:txBody>
      </p:sp>
      <p:pic>
        <p:nvPicPr>
          <p:cNvPr id="1026" name="Picture 2" descr="internet_technologies_tutorial">
            <a:extLst>
              <a:ext uri="{FF2B5EF4-FFF2-40B4-BE49-F238E27FC236}">
                <a16:creationId xmlns:a16="http://schemas.microsoft.com/office/drawing/2014/main" id="{95081BE9-AC06-4B95-8196-0DDC7CF8CC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19800" y="2115572"/>
            <a:ext cx="5334000" cy="1943100"/>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FF2B5EF4-FFF2-40B4-BE49-F238E27FC236}">
                <a16:creationId xmlns:a16="http://schemas.microsoft.com/office/drawing/2014/main" id="{BDBC9CE5-1406-8234-BC34-BD96A42677C1}"/>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03FE363D-8F72-084F-2F81-8A753E160665}"/>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90860AF4-3B75-51F2-3D83-5169086F8F61}"/>
              </a:ext>
            </a:extLst>
          </p:cNvPr>
          <p:cNvSpPr>
            <a:spLocks noGrp="1"/>
          </p:cNvSpPr>
          <p:nvPr>
            <p:ph type="sldNum" sz="quarter" idx="12"/>
          </p:nvPr>
        </p:nvSpPr>
        <p:spPr/>
        <p:txBody>
          <a:bodyPr/>
          <a:lstStyle/>
          <a:p>
            <a:fld id="{C925F5E2-2F47-4A96-ABD9-8D26218075D9}" type="slidenum">
              <a:rPr lang="en-US" smtClean="0"/>
              <a:t>8</a:t>
            </a:fld>
            <a:endParaRPr lang="en-US"/>
          </a:p>
        </p:txBody>
      </p:sp>
    </p:spTree>
    <p:extLst>
      <p:ext uri="{BB962C8B-B14F-4D97-AF65-F5344CB8AC3E}">
        <p14:creationId xmlns:p14="http://schemas.microsoft.com/office/powerpoint/2010/main" val="25730219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5C90A-02E3-4FEC-B7DD-0E302952753A}"/>
              </a:ext>
            </a:extLst>
          </p:cNvPr>
          <p:cNvSpPr>
            <a:spLocks noGrp="1"/>
          </p:cNvSpPr>
          <p:nvPr>
            <p:ph type="title"/>
          </p:nvPr>
        </p:nvSpPr>
        <p:spPr/>
        <p:txBody>
          <a:bodyPr/>
          <a:lstStyle/>
          <a:p>
            <a:r>
              <a:rPr lang="en-US" b="1" dirty="0"/>
              <a:t>World Wide Web</a:t>
            </a:r>
            <a:r>
              <a:rPr lang="en-US" dirty="0"/>
              <a:t>  (www)</a:t>
            </a:r>
          </a:p>
        </p:txBody>
      </p:sp>
      <p:sp>
        <p:nvSpPr>
          <p:cNvPr id="3" name="Content Placeholder 2">
            <a:extLst>
              <a:ext uri="{FF2B5EF4-FFF2-40B4-BE49-F238E27FC236}">
                <a16:creationId xmlns:a16="http://schemas.microsoft.com/office/drawing/2014/main" id="{00E994F0-FA19-4E0C-80B5-2897CC7DC671}"/>
              </a:ext>
            </a:extLst>
          </p:cNvPr>
          <p:cNvSpPr>
            <a:spLocks noGrp="1"/>
          </p:cNvSpPr>
          <p:nvPr>
            <p:ph idx="1"/>
          </p:nvPr>
        </p:nvSpPr>
        <p:spPr/>
        <p:txBody>
          <a:bodyPr>
            <a:normAutofit/>
          </a:bodyPr>
          <a:lstStyle/>
          <a:p>
            <a:pPr marL="0" indent="0">
              <a:buNone/>
            </a:pPr>
            <a:r>
              <a:rPr lang="en-US" dirty="0"/>
              <a:t>Part of the Internet. The WWW consists of all the sites that can be accessed using a </a:t>
            </a:r>
            <a:r>
              <a:rPr lang="en-US" b="1" dirty="0"/>
              <a:t>web browser </a:t>
            </a:r>
            <a:r>
              <a:rPr lang="en-US" dirty="0"/>
              <a:t>such as Mozilla, Netscape, Chrome, or Opera. In order for a browser to access a web site, the web site must contain files that have a particular format constructed using </a:t>
            </a:r>
            <a:r>
              <a:rPr lang="en-US" b="1" dirty="0" err="1"/>
              <a:t>HyperText</a:t>
            </a:r>
            <a:r>
              <a:rPr lang="en-US" b="1" dirty="0"/>
              <a:t> Markup Language </a:t>
            </a:r>
            <a:r>
              <a:rPr lang="en-US" dirty="0"/>
              <a:t>or </a:t>
            </a:r>
            <a:r>
              <a:rPr lang="en-US" b="1" dirty="0"/>
              <a:t>HTML</a:t>
            </a:r>
            <a:r>
              <a:rPr lang="en-US" dirty="0"/>
              <a:t>. These sites are developed using special web development applications. It is possible to create simple web sites using a word processor by saving the document in HTML format.</a:t>
            </a:r>
            <a:br>
              <a:rPr lang="en-US" dirty="0"/>
            </a:br>
            <a:r>
              <a:rPr lang="en-US" dirty="0"/>
              <a:t>The HTML documents are stored as </a:t>
            </a:r>
            <a:r>
              <a:rPr lang="en-US" b="1" dirty="0"/>
              <a:t>web pages </a:t>
            </a:r>
            <a:r>
              <a:rPr lang="en-US" dirty="0"/>
              <a:t>on special servers known as </a:t>
            </a:r>
            <a:r>
              <a:rPr lang="en-US" b="1" dirty="0"/>
              <a:t>web servers</a:t>
            </a:r>
            <a:r>
              <a:rPr lang="en-US" dirty="0"/>
              <a:t>. These run special web server software such as </a:t>
            </a:r>
            <a:r>
              <a:rPr lang="en-US" b="1" dirty="0"/>
              <a:t>Apache Web Server </a:t>
            </a:r>
            <a:r>
              <a:rPr lang="en-US" dirty="0"/>
              <a:t>or </a:t>
            </a:r>
            <a:r>
              <a:rPr lang="en-US" b="1" dirty="0"/>
              <a:t>Internet Information Services</a:t>
            </a:r>
            <a:r>
              <a:rPr lang="en-US" dirty="0"/>
              <a:t>. </a:t>
            </a:r>
          </a:p>
        </p:txBody>
      </p:sp>
      <p:sp>
        <p:nvSpPr>
          <p:cNvPr id="4" name="Date Placeholder 3">
            <a:extLst>
              <a:ext uri="{FF2B5EF4-FFF2-40B4-BE49-F238E27FC236}">
                <a16:creationId xmlns:a16="http://schemas.microsoft.com/office/drawing/2014/main" id="{7160C2C1-EAEB-0A96-05D5-D370D62035D2}"/>
              </a:ext>
            </a:extLst>
          </p:cNvPr>
          <p:cNvSpPr>
            <a:spLocks noGrp="1"/>
          </p:cNvSpPr>
          <p:nvPr>
            <p:ph type="dt" sz="half" idx="10"/>
          </p:nvPr>
        </p:nvSpPr>
        <p:spPr/>
        <p:txBody>
          <a:bodyPr/>
          <a:lstStyle/>
          <a:p>
            <a:r>
              <a:rPr lang="en-US"/>
              <a:t>12-3-2023</a:t>
            </a:r>
          </a:p>
        </p:txBody>
      </p:sp>
      <p:sp>
        <p:nvSpPr>
          <p:cNvPr id="5" name="Footer Placeholder 4">
            <a:extLst>
              <a:ext uri="{FF2B5EF4-FFF2-40B4-BE49-F238E27FC236}">
                <a16:creationId xmlns:a16="http://schemas.microsoft.com/office/drawing/2014/main" id="{258695D9-A912-0743-8EBE-B3C01A5FBF1A}"/>
              </a:ext>
            </a:extLst>
          </p:cNvPr>
          <p:cNvSpPr>
            <a:spLocks noGrp="1"/>
          </p:cNvSpPr>
          <p:nvPr>
            <p:ph type="ftr" sz="quarter" idx="11"/>
          </p:nvPr>
        </p:nvSpPr>
        <p:spPr/>
        <p:txBody>
          <a:bodyPr/>
          <a:lstStyle/>
          <a:p>
            <a:r>
              <a:rPr lang="en-US"/>
              <a:t>Levture 4</a:t>
            </a:r>
          </a:p>
        </p:txBody>
      </p:sp>
      <p:sp>
        <p:nvSpPr>
          <p:cNvPr id="6" name="Slide Number Placeholder 5">
            <a:extLst>
              <a:ext uri="{FF2B5EF4-FFF2-40B4-BE49-F238E27FC236}">
                <a16:creationId xmlns:a16="http://schemas.microsoft.com/office/drawing/2014/main" id="{97AC3711-0371-230B-D47C-53E9F1914468}"/>
              </a:ext>
            </a:extLst>
          </p:cNvPr>
          <p:cNvSpPr>
            <a:spLocks noGrp="1"/>
          </p:cNvSpPr>
          <p:nvPr>
            <p:ph type="sldNum" sz="quarter" idx="12"/>
          </p:nvPr>
        </p:nvSpPr>
        <p:spPr/>
        <p:txBody>
          <a:bodyPr/>
          <a:lstStyle/>
          <a:p>
            <a:fld id="{C925F5E2-2F47-4A96-ABD9-8D26218075D9}" type="slidenum">
              <a:rPr lang="en-US" smtClean="0"/>
              <a:t>9</a:t>
            </a:fld>
            <a:endParaRPr lang="en-US"/>
          </a:p>
        </p:txBody>
      </p:sp>
    </p:spTree>
    <p:extLst>
      <p:ext uri="{BB962C8B-B14F-4D97-AF65-F5344CB8AC3E}">
        <p14:creationId xmlns:p14="http://schemas.microsoft.com/office/powerpoint/2010/main" val="1109184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network*connect*connection*connectivity*networking**networked*linking*linked*decentralized*decentralization*connections*connected*organization*port*technology*server"/>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computer*technology*digital*laptop*"/>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omputer*technology*digital*laptop*"/>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computer*technology*digital*laptop*"/>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2</TotalTime>
  <Words>912</Words>
  <Application>Microsoft Office PowerPoint</Application>
  <PresentationFormat>Widescreen</PresentationFormat>
  <Paragraphs>103</Paragraphs>
  <Slides>12</Slides>
  <Notes>8</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2</vt:i4>
      </vt:variant>
    </vt:vector>
  </HeadingPairs>
  <TitlesOfParts>
    <vt:vector size="16" baseType="lpstr">
      <vt:lpstr>Arial</vt:lpstr>
      <vt:lpstr>Calibri</vt:lpstr>
      <vt:lpstr>Calibri Light</vt:lpstr>
      <vt:lpstr>Office Theme</vt:lpstr>
      <vt:lpstr> Lecture 4: Information Networks</vt:lpstr>
      <vt:lpstr>Networks</vt:lpstr>
      <vt:lpstr>Network</vt:lpstr>
      <vt:lpstr>LAN</vt:lpstr>
      <vt:lpstr>WAN</vt:lpstr>
      <vt:lpstr>Servers</vt:lpstr>
      <vt:lpstr>Internet, Intranet, Extranet</vt:lpstr>
      <vt:lpstr>Internet usage</vt:lpstr>
      <vt:lpstr>World Wide Web  (www)</vt:lpstr>
      <vt:lpstr>Analog / digital </vt:lpstr>
      <vt:lpstr>A modem or modulator-demodulator is a device connected between a computer and a telephone line. Its function is to convert the digital signals of the computer into a form suitable for transmission over a telephone line.  </vt:lpstr>
      <vt:lpstr>Data Transfer Ra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Networks</dc:title>
  <dc:creator>Ara Vartanian</dc:creator>
  <cp:lastModifiedBy>Safaa Al-Qaysi</cp:lastModifiedBy>
  <cp:revision>21</cp:revision>
  <dcterms:created xsi:type="dcterms:W3CDTF">2022-12-13T20:40:02Z</dcterms:created>
  <dcterms:modified xsi:type="dcterms:W3CDTF">2023-11-29T12:39:57Z</dcterms:modified>
</cp:coreProperties>
</file>